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4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6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7.xml" ContentType="application/vnd.openxmlformats-officedocument.them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heme/theme8.xml" ContentType="application/vnd.openxmlformats-officedocument.them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2.xml" ContentType="application/vnd.openxmlformats-officedocument.presentationml.notesSlide+xml"/>
  <Override PartName="/ppt/tags/tag67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203" r:id="rId1"/>
    <p:sldMasterId id="2147484218" r:id="rId2"/>
    <p:sldMasterId id="2147484225" r:id="rId3"/>
    <p:sldMasterId id="2147484236" r:id="rId4"/>
    <p:sldMasterId id="2147484248" r:id="rId5"/>
    <p:sldMasterId id="2147484259" r:id="rId6"/>
    <p:sldMasterId id="2147484267" r:id="rId7"/>
  </p:sldMasterIdLst>
  <p:notesMasterIdLst>
    <p:notesMasterId r:id="rId16"/>
  </p:notesMasterIdLst>
  <p:sldIdLst>
    <p:sldId id="324" r:id="rId8"/>
    <p:sldId id="327" r:id="rId9"/>
    <p:sldId id="309" r:id="rId10"/>
    <p:sldId id="302" r:id="rId11"/>
    <p:sldId id="330" r:id="rId12"/>
    <p:sldId id="328" r:id="rId13"/>
    <p:sldId id="332" r:id="rId14"/>
    <p:sldId id="331" r:id="rId15"/>
  </p:sldIdLst>
  <p:sldSz cx="9906000" cy="6858000" type="A4"/>
  <p:notesSz cx="6797675" cy="9926638"/>
  <p:custDataLst>
    <p:tags r:id="rId17"/>
  </p:custDataLst>
  <p:defaultTextStyle>
    <a:defPPr>
      <a:defRPr lang="ru-RU"/>
    </a:defPPr>
    <a:lvl1pPr marL="0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1pPr>
    <a:lvl2pPr marL="456993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2pPr>
    <a:lvl3pPr marL="913984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3pPr>
    <a:lvl4pPr marL="1370976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4pPr>
    <a:lvl5pPr marL="1827969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5pPr>
    <a:lvl6pPr marL="2284960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6pPr>
    <a:lvl7pPr marL="2741952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7pPr>
    <a:lvl8pPr marL="3198944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8pPr>
    <a:lvl9pPr marL="3655936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24">
          <p15:clr>
            <a:srgbClr val="A4A3A4"/>
          </p15:clr>
        </p15:guide>
        <p15:guide id="2" orient="horz" pos="4182">
          <p15:clr>
            <a:srgbClr val="A4A3A4"/>
          </p15:clr>
        </p15:guide>
        <p15:guide id="3" pos="180">
          <p15:clr>
            <a:srgbClr val="A4A3A4"/>
          </p15:clr>
        </p15:guide>
        <p15:guide id="4" pos="607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00"/>
    <a:srgbClr val="008C95"/>
    <a:srgbClr val="D0D0D0"/>
    <a:srgbClr val="B2D2D8"/>
    <a:srgbClr val="FFC000"/>
    <a:srgbClr val="808080"/>
    <a:srgbClr val="63C4EE"/>
    <a:srgbClr val="F2F2F2"/>
    <a:srgbClr val="E7EE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4460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762" y="114"/>
      </p:cViewPr>
      <p:guideLst>
        <p:guide orient="horz" pos="624"/>
        <p:guide orient="horz" pos="4182"/>
        <p:guide pos="180"/>
        <p:guide pos="607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10" Type="http://schemas.openxmlformats.org/officeDocument/2006/relationships/slide" Target="slides/slide3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E82894-F24A-4748-A776-2C6EDA2ED863}" type="datetimeFigureOut">
              <a:rPr lang="ru-RU" smtClean="0"/>
              <a:t>30.07.2024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5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805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879506-B81F-45D1-83CC-B04E4AF9F0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2185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ию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3674170-5BAC-4109-B5C0-32090B82412F}" type="slidenum">
              <a:rPr lang="ru-RU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066" name="doc id"/>
          <p:cNvSpPr txBox="1">
            <a:spLocks noGrp="1" noChangeArrowheads="1"/>
          </p:cNvSpPr>
          <p:nvPr/>
        </p:nvSpPr>
        <p:spPr bwMode="auto">
          <a:xfrm>
            <a:off x="3982816" y="71826"/>
            <a:ext cx="2535566" cy="184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r>
              <a:rPr lang="en-US" altLang="ru-RU" dirty="0">
                <a:solidFill>
                  <a:srgbClr val="000000"/>
                </a:solidFill>
              </a:rPr>
              <a:t>MOS-GAS024-20081118-EY1wm-r_c</a:t>
            </a:r>
          </a:p>
        </p:txBody>
      </p:sp>
      <p:sp>
        <p:nvSpPr>
          <p:cNvPr id="88067" name="pg num"/>
          <p:cNvSpPr txBox="1">
            <a:spLocks noGrp="1" noChangeArrowheads="1"/>
          </p:cNvSpPr>
          <p:nvPr/>
        </p:nvSpPr>
        <p:spPr bwMode="auto">
          <a:xfrm>
            <a:off x="5982355" y="10378489"/>
            <a:ext cx="536040" cy="1846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42975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429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1" hangingPunct="1">
              <a:spcBef>
                <a:spcPct val="0"/>
              </a:spcBef>
            </a:pPr>
            <a:fld id="{573FA9BB-A3E3-4225-973D-A3D0EECC7B7C}" type="slidenum">
              <a:rPr lang="en-US" altLang="ru-RU">
                <a:solidFill>
                  <a:srgbClr val="000000"/>
                </a:solidFill>
              </a:rPr>
              <a:pPr algn="r" eaLnBrk="1" hangingPunct="1">
                <a:spcBef>
                  <a:spcPct val="0"/>
                </a:spcBef>
              </a:pPr>
              <a:t>4</a:t>
            </a:fld>
            <a:endParaRPr lang="en-US" altLang="ru-RU" dirty="0">
              <a:solidFill>
                <a:srgbClr val="000000"/>
              </a:solidFill>
            </a:endParaRPr>
          </a:p>
        </p:txBody>
      </p:sp>
      <p:sp>
        <p:nvSpPr>
          <p:cNvPr id="8806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3298825" y="1384300"/>
            <a:ext cx="13315950" cy="9218613"/>
          </a:xfrm>
          <a:ln/>
        </p:spPr>
      </p:sp>
      <p:sp>
        <p:nvSpPr>
          <p:cNvPr id="8806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03278" y="291119"/>
            <a:ext cx="5148844" cy="355222"/>
          </a:xfrm>
          <a:noFill/>
        </p:spPr>
        <p:txBody>
          <a:bodyPr lIns="0" tIns="0" rIns="0" bIns="0"/>
          <a:lstStyle/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360245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723" name="Заметки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quarter" idx="1"/>
          </p:nvPr>
        </p:nvSpPr>
        <p:spPr/>
        <p:txBody>
          <a:bodyPr/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июнь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ru-RU" dirty="0">
                <a:solidFill>
                  <a:prstClr val="black"/>
                </a:solidFill>
              </a:rPr>
              <a:t>1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3674170-5BAC-4109-B5C0-32090B82412F}" type="slidenum">
              <a:rPr lang="ru-RU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2806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tags" Target="../tags/tag6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tags" Target="../tags/tag20.xml"/><Relationship Id="rId7" Type="http://schemas.openxmlformats.org/officeDocument/2006/relationships/image" Target="../media/image7.jp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2.xml"/><Relationship Id="rId7" Type="http://schemas.openxmlformats.org/officeDocument/2006/relationships/image" Target="../media/image5.wmf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w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wmf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6.jp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5.wmf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5.wmf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5.wmf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7" Type="http://schemas.openxmlformats.org/officeDocument/2006/relationships/image" Target="../media/image5.w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5.w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9453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7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35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109" y="1302772"/>
            <a:ext cx="3145985" cy="4248000"/>
          </a:xfrm>
          <a:prstGeom prst="rect">
            <a:avLst/>
          </a:prstGeom>
        </p:spPr>
      </p:pic>
      <p:grpSp>
        <p:nvGrpSpPr>
          <p:cNvPr id="4" name="Группа 3"/>
          <p:cNvGrpSpPr/>
          <p:nvPr/>
        </p:nvGrpSpPr>
        <p:grpSpPr>
          <a:xfrm>
            <a:off x="9947026" y="4"/>
            <a:ext cx="3013327" cy="68579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rgbClr val="149395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726349"/>
      </p:ext>
    </p:extLst>
  </p:cSld>
  <p:clrMapOvr>
    <a:masterClrMapping/>
  </p:clrMapOvr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u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3524515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0" name="Рисунок 29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3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730" y="3062311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68205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бирюзовый фон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3364063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2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3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  <p:pic>
        <p:nvPicPr>
          <p:cNvPr id="35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109" y="1302772"/>
            <a:ext cx="3145985" cy="42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136179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5725216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5710831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8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06770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1615574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143546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308034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5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76900" y="1970340"/>
            <a:ext cx="9323665" cy="84580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95217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089608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76901" y="2306288"/>
            <a:ext cx="9324300" cy="1362075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2601929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3837249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0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83927" y="2174551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72432" y="2174551"/>
            <a:ext cx="289142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63305" y="1736846"/>
            <a:ext cx="3197734" cy="290195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2954761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76888" y="1331385"/>
            <a:ext cx="9371144" cy="4794249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175349832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94194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947026" y="4"/>
            <a:ext cx="3013327" cy="68579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rgbClr val="149395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8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cxnSp>
        <p:nvCxnSpPr>
          <p:cNvPr id="46" name="Прямая соединительная линия 45"/>
          <p:cNvCxnSpPr>
            <a:endCxn id="48" idx="3"/>
          </p:cNvCxnSpPr>
          <p:nvPr/>
        </p:nvCxnSpPr>
        <p:spPr bwMode="auto">
          <a:xfrm flipH="1" flipV="1">
            <a:off x="5476430" y="6166055"/>
            <a:ext cx="4429576" cy="4617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Прямая соединительная линия 46"/>
          <p:cNvCxnSpPr/>
          <p:nvPr/>
        </p:nvCxnSpPr>
        <p:spPr bwMode="auto">
          <a:xfrm>
            <a:off x="3" y="6212220"/>
            <a:ext cx="4160177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TextBox 47"/>
          <p:cNvSpPr txBox="1"/>
          <p:nvPr/>
        </p:nvSpPr>
        <p:spPr>
          <a:xfrm>
            <a:off x="4191142" y="6027555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ООО «СИБУР»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  <p:pic>
        <p:nvPicPr>
          <p:cNvPr id="36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109" y="1302772"/>
            <a:ext cx="3145985" cy="42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2531981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76900" y="2251968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276900" y="307215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276900" y="389234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276900" y="4712528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276900" y="553271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C26854C-9590-4F77-A1DA-AD30F168CD3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7622" y="1334690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C1560EF-8C42-46D3-A113-AED54EB909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7622" y="2156909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7ABE165-F729-425A-9522-F3ACCC449C7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97622" y="2979127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9A3E6EC-E939-43BF-BEAA-BE9928A833D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97622" y="3801346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451A043-E6A6-452E-BB24-0D7E5BCFDF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97622" y="4623565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27E7D48-BBF6-4E78-B5EB-487E2B7741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97622" y="5445783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011936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6137235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554127" y="0"/>
            <a:ext cx="3351873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C594E9-F98C-4ECD-BBE5-1A777FD07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84892" y="1334690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76900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B7B1C5-0535-4FD0-9141-E4811B53E2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92" y="2048471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76900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89DD66-5540-48DC-A10A-5DDAB08B011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84892" y="2767962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76900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92F8E39-E868-4536-A12D-FD1C3FBCA9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84892" y="3487452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6900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BE6F9E0F-6B32-4528-B792-28DB2E17C00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84892" y="4206943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76900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1A60B29-3714-4301-95B5-4828A8E2C17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84892" y="4926434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76900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6565569-AD3D-4D67-9D0D-713544D2377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84892" y="5645925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836588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65662" y="1334688"/>
            <a:ext cx="2867339" cy="50030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76899" y="6340605"/>
            <a:ext cx="6488764" cy="443416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CE97842-6475-454B-98E4-01D2322943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64066" y="1334690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76900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B98125D-1849-4AF0-BE91-E7620FA2CD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64066" y="2048471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76900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68FBEC0-B9BA-476B-ABDD-7E71B00EE8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4066" y="2767962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76900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29092CD-E822-4EDC-B8B6-0CD610BF5A3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64066" y="3487452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6900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7D889CD-8958-4384-9905-DA3BB80B46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4066" y="4206943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76900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CFB8B23-03A2-49E8-B1D0-9DC2CBF3B7D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64066" y="4926434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76900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B760FD3-9F71-474E-8525-B92C26CC945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64066" y="5645925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8774053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предпосыл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28" y="1289494"/>
            <a:ext cx="3038528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470275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980792E-90B1-44B5-8002-FDCADECFF35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8294" y="1334690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470275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500CAD4-F3E7-4A42-9896-E4DE9E9D76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98294" y="2048471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470275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C1581854-5F88-478E-B1DF-C7C6B47143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098294" y="2767962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470275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D4FB18-41A7-45E9-8170-51281C4A35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98294" y="3487452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470275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28204F5-9978-458C-B886-0FE2D703C4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8294" y="4206943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470275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D3562CE-A3F4-466B-A9D3-AC2175F868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098294" y="4926434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470275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CE170A8-BA82-4FE4-ADC7-72FC991D90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098294" y="5645925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7502469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4355" y="272720"/>
            <a:ext cx="5988645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351873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44355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D1C6CFE-3B42-4E68-8F90-D16CA3CB58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244829" y="1334690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644355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EC294AA-CA93-448B-8CDF-AABD8FA081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44829" y="2048471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644355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81702C2-B12F-4EAE-994D-1092DDAA840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244829" y="2767962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44355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09921A7-5A7D-429D-98F8-5C3D0D68DF4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244829" y="3487452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644355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CE4F2F3-D83C-44A2-ADA5-3A2B4310AC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244829" y="4206943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644355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755A123-151B-4050-A5F3-4A9019222E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244829" y="4926434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644355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5355F9-7F30-4BD3-9D56-6F134F19492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244829" y="5645925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038962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84137" y="1289494"/>
            <a:ext cx="4448863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84138" y="272720"/>
            <a:ext cx="4448861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944745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093009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6902" y="1289494"/>
            <a:ext cx="4448863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1" y="272720"/>
            <a:ext cx="4448861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76901" y="6340605"/>
            <a:ext cx="4448861" cy="443416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961255" y="0"/>
            <a:ext cx="4944745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50416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4356" y="1289494"/>
            <a:ext cx="5988645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4355" y="272720"/>
            <a:ext cx="5988645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351873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093208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5988645" cy="7056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554127" y="0"/>
            <a:ext cx="3351873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6902" y="1289494"/>
            <a:ext cx="5988644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3679264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а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869305" y="1091643"/>
            <a:ext cx="3763695" cy="512077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76887" y="1746252"/>
            <a:ext cx="5485103" cy="4466165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5485092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9272848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988427" y="4"/>
            <a:ext cx="3013327" cy="6857999"/>
            <a:chOff x="9220084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220084" y="1"/>
              <a:ext cx="2781533" cy="5143499"/>
            </a:xfrm>
            <a:prstGeom prst="rect">
              <a:avLst/>
            </a:prstGeom>
            <a:solidFill>
              <a:srgbClr val="149395"/>
            </a:solidFill>
            <a:ln>
              <a:noFill/>
            </a:ln>
          </p:spPr>
          <p:txBody>
            <a:bodyPr wrap="square" lIns="576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1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1" dirty="0">
                  <a:solidFill>
                    <a:schemeClr val="bg1"/>
                  </a:solidFill>
                </a:rPr>
              </a:br>
              <a:r>
                <a:rPr lang="ru-RU" sz="12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94809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94809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94809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94809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94809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94809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94809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94809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94809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94809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94811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94811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94811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94811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294811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9294811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94811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94811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94811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5" name="Прямая соединительная линия 64"/>
            <p:cNvCxnSpPr/>
            <p:nvPr/>
          </p:nvCxnSpPr>
          <p:spPr bwMode="auto">
            <a:xfrm>
              <a:off x="9791817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38" name="Прямая соединительная линия 37"/>
          <p:cNvCxnSpPr>
            <a:endCxn id="40" idx="3"/>
          </p:cNvCxnSpPr>
          <p:nvPr/>
        </p:nvCxnSpPr>
        <p:spPr bwMode="auto">
          <a:xfrm flipH="1" flipV="1">
            <a:off x="6163389" y="6162882"/>
            <a:ext cx="3731012" cy="46169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>
            <a:endCxn id="40" idx="1"/>
          </p:cNvCxnSpPr>
          <p:nvPr/>
        </p:nvCxnSpPr>
        <p:spPr bwMode="auto">
          <a:xfrm flipV="1">
            <a:off x="-903" y="6162882"/>
            <a:ext cx="4218503" cy="46169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Box 39"/>
          <p:cNvSpPr txBox="1"/>
          <p:nvPr/>
        </p:nvSpPr>
        <p:spPr>
          <a:xfrm>
            <a:off x="4217600" y="6024382"/>
            <a:ext cx="1945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2" name="Picture 3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  <p:pic>
        <p:nvPicPr>
          <p:cNvPr id="33" name="Picture 38">
            <a:extLst>
              <a:ext uri="{FF2B5EF4-FFF2-40B4-BE49-F238E27FC236}">
                <a16:creationId xmlns:a16="http://schemas.microsoft.com/office/drawing/2014/main" id="{901AC770-E943-4FB7-BE64-A63C081C98D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109" y="1302772"/>
            <a:ext cx="3145985" cy="42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0803074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76887" y="1123951"/>
            <a:ext cx="4560888" cy="5088467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5072112" y="1123951"/>
            <a:ext cx="4560888" cy="5088467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3235752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5056636" y="1803401"/>
            <a:ext cx="4576365" cy="4409017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76888" y="1803401"/>
            <a:ext cx="4576365" cy="4409017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230414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27" y="4404785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76888" y="1818168"/>
            <a:ext cx="4576365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5056636" y="1818168"/>
            <a:ext cx="4576365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56635" y="4404785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738891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76888" y="1689977"/>
            <a:ext cx="4576365" cy="2507605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5056636" y="1689977"/>
            <a:ext cx="4576365" cy="2507605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27" y="4197582"/>
            <a:ext cx="4576366" cy="2014836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56635" y="4197582"/>
            <a:ext cx="4576366" cy="2014836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53388241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1727" y="1689978"/>
            <a:ext cx="4576366" cy="189167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56635" y="1689978"/>
            <a:ext cx="4576366" cy="189167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27" y="4356267"/>
            <a:ext cx="4576366" cy="185615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56635" y="4356267"/>
            <a:ext cx="4576366" cy="185615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71727" y="3757932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5051857" y="3757932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5674672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096248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76900" y="37193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5058300" y="1096248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5058300" y="37193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6887" y="4220692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1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56635" y="4220692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1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6887" y="1597558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1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56635" y="1597558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1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838200" y="1091643"/>
            <a:ext cx="4014671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618330" y="1091643"/>
            <a:ext cx="4014671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833029" y="3714442"/>
            <a:ext cx="4014671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5613159" y="3714442"/>
            <a:ext cx="4014671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36048664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76900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58381" y="1334690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76900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58381" y="2048471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76900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58381" y="2767962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76900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8381" y="3487452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76900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58381" y="4206943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6900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8381" y="4926434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76900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58381" y="5645925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223701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805182" y="1334690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223701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805182" y="2048471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223701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805182" y="2767962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223701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805182" y="3487452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5223701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805182" y="4206943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223701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805182" y="4926434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5223701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805182" y="5645925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55754200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76898" y="1689977"/>
            <a:ext cx="4601804" cy="247562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46576" y="1689978"/>
            <a:ext cx="4601804" cy="247562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71479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4165600"/>
            <a:ext cx="9906000" cy="2692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28462645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7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/>
          </p:nvPr>
        </p:nvSpPr>
        <p:spPr>
          <a:xfrm>
            <a:off x="276225" y="1091643"/>
            <a:ext cx="4572000" cy="2527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2" name="Content Placeholder 6"/>
          <p:cNvSpPr>
            <a:spLocks noGrp="1"/>
          </p:cNvSpPr>
          <p:nvPr>
            <p:ph sz="quarter" idx="32"/>
          </p:nvPr>
        </p:nvSpPr>
        <p:spPr>
          <a:xfrm>
            <a:off x="276225" y="3693999"/>
            <a:ext cx="4572000" cy="2527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33"/>
          </p:nvPr>
        </p:nvSpPr>
        <p:spPr>
          <a:xfrm>
            <a:off x="5050661" y="1091643"/>
            <a:ext cx="4572000" cy="2527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Content Placeholder 6"/>
          <p:cNvSpPr>
            <a:spLocks noGrp="1"/>
          </p:cNvSpPr>
          <p:nvPr>
            <p:ph sz="quarter" idx="34"/>
          </p:nvPr>
        </p:nvSpPr>
        <p:spPr>
          <a:xfrm>
            <a:off x="5050661" y="3693999"/>
            <a:ext cx="4572000" cy="25278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173461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0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/>
          </p:nvPr>
        </p:nvSpPr>
        <p:spPr>
          <a:xfrm>
            <a:off x="276225" y="1597025"/>
            <a:ext cx="4572000" cy="2372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226" y="1091643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6356" y="1091643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Content Placeholder 6"/>
          <p:cNvSpPr>
            <a:spLocks noGrp="1"/>
          </p:cNvSpPr>
          <p:nvPr>
            <p:ph sz="quarter" idx="32"/>
          </p:nvPr>
        </p:nvSpPr>
        <p:spPr>
          <a:xfrm>
            <a:off x="276225" y="3964968"/>
            <a:ext cx="4572000" cy="2372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33"/>
          </p:nvPr>
        </p:nvSpPr>
        <p:spPr>
          <a:xfrm>
            <a:off x="5050661" y="1597025"/>
            <a:ext cx="4572000" cy="2372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Content Placeholder 6"/>
          <p:cNvSpPr>
            <a:spLocks noGrp="1"/>
          </p:cNvSpPr>
          <p:nvPr>
            <p:ph sz="quarter" idx="34"/>
          </p:nvPr>
        </p:nvSpPr>
        <p:spPr>
          <a:xfrm>
            <a:off x="5050661" y="3964968"/>
            <a:ext cx="4572000" cy="23727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583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новое фото">
    <p:bg>
      <p:bgPr>
        <a:blipFill dpi="0" rotWithShape="1">
          <a:blip r:embed="rId5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5907457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0" y="0"/>
            <a:ext cx="9906000" cy="6859200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55000"/>
                </a:srgbClr>
              </a:gs>
              <a:gs pos="74000">
                <a:schemeClr val="accent1">
                  <a:alpha val="36000"/>
                </a:schemeClr>
              </a:gs>
              <a:gs pos="100000">
                <a:schemeClr val="accent1">
                  <a:alpha val="1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Прямоугольник 29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38724" y="1867327"/>
            <a:ext cx="7817951" cy="1922356"/>
          </a:xfrm>
          <a:effectLst/>
        </p:spPr>
        <p:txBody>
          <a:bodyPr>
            <a:normAutofit/>
          </a:bodyPr>
          <a:lstStyle>
            <a:lvl1pPr>
              <a:defRPr lang="ru-RU" sz="3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3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8505" y="4199683"/>
            <a:ext cx="7818171" cy="1056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54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138504" y="5521072"/>
            <a:ext cx="7818171" cy="72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8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504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5302005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708114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2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/>
          </p:nvPr>
        </p:nvSpPr>
        <p:spPr>
          <a:xfrm>
            <a:off x="276225" y="1597025"/>
            <a:ext cx="4572000" cy="2022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226" y="1091643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6356" y="1091643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271055" y="3714442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5051185" y="3714442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Content Placeholder 6"/>
          <p:cNvSpPr>
            <a:spLocks noGrp="1"/>
          </p:cNvSpPr>
          <p:nvPr>
            <p:ph sz="quarter" idx="32"/>
          </p:nvPr>
        </p:nvSpPr>
        <p:spPr>
          <a:xfrm>
            <a:off x="276225" y="4199381"/>
            <a:ext cx="4572000" cy="2022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33"/>
          </p:nvPr>
        </p:nvSpPr>
        <p:spPr>
          <a:xfrm>
            <a:off x="5050661" y="1597025"/>
            <a:ext cx="4572000" cy="2022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4" name="Content Placeholder 6"/>
          <p:cNvSpPr>
            <a:spLocks noGrp="1"/>
          </p:cNvSpPr>
          <p:nvPr>
            <p:ph sz="quarter" idx="34"/>
          </p:nvPr>
        </p:nvSpPr>
        <p:spPr>
          <a:xfrm>
            <a:off x="5050661" y="4199381"/>
            <a:ext cx="4572000" cy="2022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10138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72950" y="1710000"/>
            <a:ext cx="2979379" cy="2455600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1710000"/>
            <a:ext cx="2979379" cy="2455600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69000" y="1710000"/>
            <a:ext cx="2979379" cy="2455600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71479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4165600"/>
            <a:ext cx="9906000" cy="2692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111664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11664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11664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591214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78099219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624146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624146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887" y="112437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472949" y="112437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6669000" y="112437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624146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2278645"/>
            <a:ext cx="2979379" cy="393239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2278645"/>
            <a:ext cx="2979379" cy="393239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2278645"/>
            <a:ext cx="2979379" cy="393239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982824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400933"/>
            <a:ext cx="3007071" cy="181010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50778" y="4400933"/>
            <a:ext cx="3007071" cy="181010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24264" y="4400933"/>
            <a:ext cx="3007071" cy="181010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76889" y="1746252"/>
            <a:ext cx="3008602" cy="2529365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3450778" y="1746252"/>
            <a:ext cx="3008602" cy="2529365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900" y="1091643"/>
            <a:ext cx="3008344" cy="598335"/>
          </a:xfrm>
        </p:spPr>
        <p:txBody>
          <a:bodyPr anchor="b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450778" y="1091643"/>
            <a:ext cx="3008344" cy="598335"/>
          </a:xfrm>
        </p:spPr>
        <p:txBody>
          <a:bodyPr anchor="b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6624264" y="1746252"/>
            <a:ext cx="3008602" cy="2529365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624657" y="1091643"/>
            <a:ext cx="3008344" cy="598335"/>
          </a:xfrm>
        </p:spPr>
        <p:txBody>
          <a:bodyPr anchor="b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11449348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76887" y="1754038"/>
            <a:ext cx="2963201" cy="268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4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473749" y="1754038"/>
            <a:ext cx="2963201" cy="268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669799" y="1754038"/>
            <a:ext cx="2963201" cy="268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444910"/>
            <a:ext cx="2979379" cy="1766128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4444910"/>
            <a:ext cx="2979379" cy="1766128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4444910"/>
            <a:ext cx="2979379" cy="1766128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123949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23949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23949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8723486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2949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669000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07891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472949" y="375405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669000" y="375405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76900" y="3754057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4914830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1615861"/>
            <a:ext cx="2979379" cy="200862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2949" y="1615861"/>
            <a:ext cx="2979379" cy="200862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669000" y="1615861"/>
            <a:ext cx="2979379" cy="200862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249993"/>
            <a:ext cx="2979379" cy="196104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4249993"/>
            <a:ext cx="2979379" cy="196104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4249993"/>
            <a:ext cx="2979379" cy="196104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106509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76900" y="3737527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472950" y="1106509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472950" y="3737527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6669000" y="1106509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6669000" y="3737527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4032041" y="1107892"/>
            <a:ext cx="2404907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7228092" y="1107892"/>
            <a:ext cx="2404907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838200" y="1107892"/>
            <a:ext cx="2414401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4032041" y="3754058"/>
            <a:ext cx="2404907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7228092" y="3754058"/>
            <a:ext cx="2404907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838200" y="3754058"/>
            <a:ext cx="2414401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95633008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2949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669000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07891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472949" y="375405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669000" y="375405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76900" y="3754057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47996639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98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Content Placeholder 6"/>
          <p:cNvSpPr>
            <a:spLocks noGrp="1"/>
          </p:cNvSpPr>
          <p:nvPr>
            <p:ph sz="quarter" idx="42"/>
          </p:nvPr>
        </p:nvSpPr>
        <p:spPr>
          <a:xfrm>
            <a:off x="276225" y="3724247"/>
            <a:ext cx="2976563" cy="26134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1"/>
          </p:nvPr>
        </p:nvSpPr>
        <p:spPr>
          <a:xfrm>
            <a:off x="276038" y="1107890"/>
            <a:ext cx="2976563" cy="26134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43"/>
          </p:nvPr>
        </p:nvSpPr>
        <p:spPr>
          <a:xfrm>
            <a:off x="3472519" y="3724247"/>
            <a:ext cx="2976563" cy="26134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44"/>
          </p:nvPr>
        </p:nvSpPr>
        <p:spPr>
          <a:xfrm>
            <a:off x="3472519" y="1107890"/>
            <a:ext cx="2976563" cy="26134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45"/>
          </p:nvPr>
        </p:nvSpPr>
        <p:spPr>
          <a:xfrm>
            <a:off x="6669000" y="3724247"/>
            <a:ext cx="2976563" cy="26134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46"/>
          </p:nvPr>
        </p:nvSpPr>
        <p:spPr>
          <a:xfrm>
            <a:off x="6669000" y="1107890"/>
            <a:ext cx="2976563" cy="261348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7565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2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Content Placeholder 6"/>
          <p:cNvSpPr>
            <a:spLocks noGrp="1"/>
          </p:cNvSpPr>
          <p:nvPr>
            <p:ph sz="quarter" idx="42"/>
          </p:nvPr>
        </p:nvSpPr>
        <p:spPr>
          <a:xfrm>
            <a:off x="276225" y="4023584"/>
            <a:ext cx="2976563" cy="22653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1"/>
          </p:nvPr>
        </p:nvSpPr>
        <p:spPr>
          <a:xfrm>
            <a:off x="276038" y="1706563"/>
            <a:ext cx="2976563" cy="22653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519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07891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43"/>
          </p:nvPr>
        </p:nvSpPr>
        <p:spPr>
          <a:xfrm>
            <a:off x="3472519" y="4023584"/>
            <a:ext cx="2976563" cy="22653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44"/>
          </p:nvPr>
        </p:nvSpPr>
        <p:spPr>
          <a:xfrm>
            <a:off x="3472519" y="1706563"/>
            <a:ext cx="2976563" cy="22653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45"/>
          </p:nvPr>
        </p:nvSpPr>
        <p:spPr>
          <a:xfrm>
            <a:off x="6669000" y="4023584"/>
            <a:ext cx="2976563" cy="22653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46"/>
          </p:nvPr>
        </p:nvSpPr>
        <p:spPr>
          <a:xfrm>
            <a:off x="6669000" y="1706563"/>
            <a:ext cx="2976563" cy="226536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246743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ле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3863951" cy="68580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322143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6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8099149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90426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46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Content Placeholder 6"/>
          <p:cNvSpPr>
            <a:spLocks noGrp="1"/>
          </p:cNvSpPr>
          <p:nvPr>
            <p:ph sz="quarter" idx="42"/>
          </p:nvPr>
        </p:nvSpPr>
        <p:spPr>
          <a:xfrm>
            <a:off x="276225" y="4293336"/>
            <a:ext cx="2976563" cy="1917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1"/>
          </p:nvPr>
        </p:nvSpPr>
        <p:spPr>
          <a:xfrm>
            <a:off x="276225" y="1706563"/>
            <a:ext cx="2976563" cy="1917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519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07891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472949" y="369443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669000" y="369443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76900" y="3694437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43"/>
          </p:nvPr>
        </p:nvSpPr>
        <p:spPr>
          <a:xfrm>
            <a:off x="3472519" y="4293336"/>
            <a:ext cx="2976563" cy="1917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44"/>
          </p:nvPr>
        </p:nvSpPr>
        <p:spPr>
          <a:xfrm>
            <a:off x="3472519" y="1706563"/>
            <a:ext cx="2976563" cy="1917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45"/>
          </p:nvPr>
        </p:nvSpPr>
        <p:spPr>
          <a:xfrm>
            <a:off x="6669000" y="4293336"/>
            <a:ext cx="2976563" cy="1917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46"/>
          </p:nvPr>
        </p:nvSpPr>
        <p:spPr>
          <a:xfrm>
            <a:off x="6669000" y="1706563"/>
            <a:ext cx="2976563" cy="19177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63502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9" y="1521227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667601" y="1521227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5058301" y="1521227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7449000" y="1521227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887" y="1006700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667600" y="1006700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5058300" y="1006700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7448999" y="1006700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3705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0" y="4403806"/>
            <a:ext cx="2184000" cy="18072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4403806"/>
            <a:ext cx="2184000" cy="18072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0" y="4403806"/>
            <a:ext cx="2184000" cy="18072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4403806"/>
            <a:ext cx="2184000" cy="18072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76888" y="1818168"/>
            <a:ext cx="2184000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666153" y="1818168"/>
            <a:ext cx="2184000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5055417" y="1818168"/>
            <a:ext cx="2184000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7444681" y="1818168"/>
            <a:ext cx="2184000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9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449000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57777236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2" y="1706221"/>
            <a:ext cx="2184000" cy="4561229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2" y="1706221"/>
            <a:ext cx="2184000" cy="4561229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2" y="1706221"/>
            <a:ext cx="2184000" cy="4561229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1706221"/>
            <a:ext cx="2184000" cy="4561229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9" y="1107886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07886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07886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449000" y="1107886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5752029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0" y="4371975"/>
            <a:ext cx="2184000" cy="183906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4371975"/>
            <a:ext cx="2184000" cy="183906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0" y="4371975"/>
            <a:ext cx="2184000" cy="183906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4371975"/>
            <a:ext cx="2184000" cy="183906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77009" y="1722286"/>
            <a:ext cx="2183892" cy="2646817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672085" y="1722286"/>
            <a:ext cx="2183892" cy="2646817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5058300" y="1722286"/>
            <a:ext cx="2183892" cy="2646817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7449108" y="1722286"/>
            <a:ext cx="2183892" cy="2646817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/>
              <a:t>Вставка рисунка</a:t>
            </a:r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276899" y="1123951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23951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23951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7449000" y="1123951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6722925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39"/>
          </p:nvPr>
        </p:nvSpPr>
        <p:spPr>
          <a:xfrm>
            <a:off x="276225" y="1194952"/>
            <a:ext cx="2184400" cy="24667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40"/>
          </p:nvPr>
        </p:nvSpPr>
        <p:spPr>
          <a:xfrm>
            <a:off x="2667017" y="1194952"/>
            <a:ext cx="2184400" cy="24667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41"/>
          </p:nvPr>
        </p:nvSpPr>
        <p:spPr>
          <a:xfrm>
            <a:off x="5057809" y="1194952"/>
            <a:ext cx="2184400" cy="24667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42"/>
          </p:nvPr>
        </p:nvSpPr>
        <p:spPr>
          <a:xfrm>
            <a:off x="7448600" y="1194952"/>
            <a:ext cx="2184400" cy="24667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43"/>
          </p:nvPr>
        </p:nvSpPr>
        <p:spPr>
          <a:xfrm>
            <a:off x="276225" y="3791155"/>
            <a:ext cx="2184400" cy="24667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44"/>
          </p:nvPr>
        </p:nvSpPr>
        <p:spPr>
          <a:xfrm>
            <a:off x="2667017" y="3791155"/>
            <a:ext cx="2184400" cy="24667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7" name="Content Placeholder 10"/>
          <p:cNvSpPr>
            <a:spLocks noGrp="1"/>
          </p:cNvSpPr>
          <p:nvPr>
            <p:ph sz="quarter" idx="45"/>
          </p:nvPr>
        </p:nvSpPr>
        <p:spPr>
          <a:xfrm>
            <a:off x="5057809" y="3791155"/>
            <a:ext cx="2184400" cy="24667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8" name="Content Placeholder 10"/>
          <p:cNvSpPr>
            <a:spLocks noGrp="1"/>
          </p:cNvSpPr>
          <p:nvPr>
            <p:ph sz="quarter" idx="46"/>
          </p:nvPr>
        </p:nvSpPr>
        <p:spPr>
          <a:xfrm>
            <a:off x="7448600" y="3791155"/>
            <a:ext cx="2184400" cy="246677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770909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39"/>
          </p:nvPr>
        </p:nvSpPr>
        <p:spPr>
          <a:xfrm>
            <a:off x="276225" y="1772512"/>
            <a:ext cx="2184400" cy="22470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40"/>
          </p:nvPr>
        </p:nvSpPr>
        <p:spPr>
          <a:xfrm>
            <a:off x="2667017" y="1772512"/>
            <a:ext cx="2184400" cy="22470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41"/>
          </p:nvPr>
        </p:nvSpPr>
        <p:spPr>
          <a:xfrm>
            <a:off x="5057809" y="1772512"/>
            <a:ext cx="2184400" cy="22470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42"/>
          </p:nvPr>
        </p:nvSpPr>
        <p:spPr>
          <a:xfrm>
            <a:off x="7448600" y="1772512"/>
            <a:ext cx="2184400" cy="22470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43"/>
          </p:nvPr>
        </p:nvSpPr>
        <p:spPr>
          <a:xfrm>
            <a:off x="276225" y="4019550"/>
            <a:ext cx="2184400" cy="2238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44"/>
          </p:nvPr>
        </p:nvSpPr>
        <p:spPr>
          <a:xfrm>
            <a:off x="2667017" y="4019550"/>
            <a:ext cx="2184400" cy="2238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7" name="Content Placeholder 10"/>
          <p:cNvSpPr>
            <a:spLocks noGrp="1"/>
          </p:cNvSpPr>
          <p:nvPr>
            <p:ph sz="quarter" idx="45"/>
          </p:nvPr>
        </p:nvSpPr>
        <p:spPr>
          <a:xfrm>
            <a:off x="5057809" y="4019550"/>
            <a:ext cx="2184400" cy="2238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8" name="Content Placeholder 10"/>
          <p:cNvSpPr>
            <a:spLocks noGrp="1"/>
          </p:cNvSpPr>
          <p:nvPr>
            <p:ph sz="quarter" idx="46"/>
          </p:nvPr>
        </p:nvSpPr>
        <p:spPr>
          <a:xfrm>
            <a:off x="7448600" y="4019550"/>
            <a:ext cx="2184400" cy="22383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9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449000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72009202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39"/>
          </p:nvPr>
        </p:nvSpPr>
        <p:spPr>
          <a:xfrm>
            <a:off x="276225" y="1772512"/>
            <a:ext cx="2184400" cy="190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40"/>
          </p:nvPr>
        </p:nvSpPr>
        <p:spPr>
          <a:xfrm>
            <a:off x="2667017" y="1772512"/>
            <a:ext cx="2184400" cy="190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41"/>
          </p:nvPr>
        </p:nvSpPr>
        <p:spPr>
          <a:xfrm>
            <a:off x="5057809" y="1772512"/>
            <a:ext cx="2184400" cy="190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42"/>
          </p:nvPr>
        </p:nvSpPr>
        <p:spPr>
          <a:xfrm>
            <a:off x="7448600" y="1772512"/>
            <a:ext cx="2184400" cy="190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43"/>
          </p:nvPr>
        </p:nvSpPr>
        <p:spPr>
          <a:xfrm>
            <a:off x="276225" y="4421055"/>
            <a:ext cx="2184400" cy="190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44"/>
          </p:nvPr>
        </p:nvSpPr>
        <p:spPr>
          <a:xfrm>
            <a:off x="2667017" y="4421055"/>
            <a:ext cx="2184400" cy="190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7" name="Content Placeholder 10"/>
          <p:cNvSpPr>
            <a:spLocks noGrp="1"/>
          </p:cNvSpPr>
          <p:nvPr>
            <p:ph sz="quarter" idx="45"/>
          </p:nvPr>
        </p:nvSpPr>
        <p:spPr>
          <a:xfrm>
            <a:off x="5057809" y="4421055"/>
            <a:ext cx="2184400" cy="190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8" name="Content Placeholder 10"/>
          <p:cNvSpPr>
            <a:spLocks noGrp="1"/>
          </p:cNvSpPr>
          <p:nvPr>
            <p:ph sz="quarter" idx="46"/>
          </p:nvPr>
        </p:nvSpPr>
        <p:spPr>
          <a:xfrm>
            <a:off x="7448600" y="4421055"/>
            <a:ext cx="2184400" cy="190800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9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449000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47" hasCustomPrompt="1"/>
          </p:nvPr>
        </p:nvSpPr>
        <p:spPr>
          <a:xfrm>
            <a:off x="276225" y="3803062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48" hasCustomPrompt="1"/>
          </p:nvPr>
        </p:nvSpPr>
        <p:spPr>
          <a:xfrm>
            <a:off x="2666927" y="3803062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49" hasCustomPrompt="1"/>
          </p:nvPr>
        </p:nvSpPr>
        <p:spPr>
          <a:xfrm>
            <a:off x="5057627" y="3803062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50" hasCustomPrompt="1"/>
          </p:nvPr>
        </p:nvSpPr>
        <p:spPr>
          <a:xfrm>
            <a:off x="7448326" y="3803062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9979490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9" y="1107885"/>
            <a:ext cx="2348192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667599" y="1107885"/>
            <a:ext cx="2348192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5058299" y="1107885"/>
            <a:ext cx="2348192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7448999" y="1107885"/>
            <a:ext cx="2348192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385630625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825274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900" y="1107885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162590" y="1107885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056860" y="1107885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951130" y="1107885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836820" y="1105013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171170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68404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951129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50934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6042049" y="0"/>
            <a:ext cx="3863951" cy="68580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4599088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11525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611527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3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1525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25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475742"/>
      </p:ext>
    </p:extLst>
  </p:cSld>
  <p:clrMapOvr>
    <a:masterClrMapping/>
  </p:clrMapOvr>
  <p:hf hdr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76887" y="1429109"/>
            <a:ext cx="2942563" cy="2114551"/>
          </a:xfrm>
        </p:spPr>
        <p:txBody>
          <a:bodyPr lIns="108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76887" y="3786291"/>
            <a:ext cx="2942563" cy="2114551"/>
          </a:xfrm>
        </p:spPr>
        <p:txBody>
          <a:bodyPr lIns="108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707439" y="1429109"/>
            <a:ext cx="2942563" cy="2114551"/>
          </a:xfrm>
        </p:spPr>
        <p:txBody>
          <a:bodyPr lIns="108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707439" y="3786291"/>
            <a:ext cx="2942563" cy="2114551"/>
          </a:xfrm>
        </p:spPr>
        <p:txBody>
          <a:bodyPr lIns="108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4" name="Арка 23"/>
          <p:cNvSpPr/>
          <p:nvPr/>
        </p:nvSpPr>
        <p:spPr bwMode="auto">
          <a:xfrm>
            <a:off x="3589316" y="2272830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Арка 24"/>
          <p:cNvSpPr/>
          <p:nvPr/>
        </p:nvSpPr>
        <p:spPr bwMode="auto">
          <a:xfrm rot="5400000">
            <a:off x="3589314" y="2272832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Арка 25"/>
          <p:cNvSpPr/>
          <p:nvPr/>
        </p:nvSpPr>
        <p:spPr bwMode="auto">
          <a:xfrm rot="10800000">
            <a:off x="3589316" y="2272830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27" name="Арка 26"/>
          <p:cNvSpPr/>
          <p:nvPr/>
        </p:nvSpPr>
        <p:spPr bwMode="auto">
          <a:xfrm rot="16200000">
            <a:off x="3589314" y="2272832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Нашивка 14"/>
          <p:cNvSpPr/>
          <p:nvPr/>
        </p:nvSpPr>
        <p:spPr bwMode="auto">
          <a:xfrm>
            <a:off x="4855949" y="2272830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Нашивка 15"/>
          <p:cNvSpPr/>
          <p:nvPr/>
        </p:nvSpPr>
        <p:spPr bwMode="auto">
          <a:xfrm rot="5400000">
            <a:off x="6064715" y="3470226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Нашивка 16"/>
          <p:cNvSpPr/>
          <p:nvPr/>
        </p:nvSpPr>
        <p:spPr bwMode="auto">
          <a:xfrm flipH="1">
            <a:off x="4883245" y="4676233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Нашивка 17"/>
          <p:cNvSpPr/>
          <p:nvPr/>
        </p:nvSpPr>
        <p:spPr bwMode="auto">
          <a:xfrm rot="16200000">
            <a:off x="3654491" y="3484359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3245323" y="2001674"/>
            <a:ext cx="733167" cy="760576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6057851" y="2001672"/>
            <a:ext cx="640439" cy="836777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3245324" y="4556668"/>
            <a:ext cx="781144" cy="724095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958385" y="4556674"/>
            <a:ext cx="739906" cy="72408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200388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>
            <a:grpSpLocks noChangeAspect="1"/>
          </p:cNvGrpSpPr>
          <p:nvPr/>
        </p:nvGrpSpPr>
        <p:grpSpPr>
          <a:xfrm rot="1829240">
            <a:off x="3404199" y="2186899"/>
            <a:ext cx="3215225" cy="3132000"/>
            <a:chOff x="62794" y="1435622"/>
            <a:chExt cx="2880788" cy="2806226"/>
          </a:xfrm>
        </p:grpSpPr>
        <p:sp>
          <p:nvSpPr>
            <p:cNvPr id="32" name="Арка 31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Арка 32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" name="Арка 33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5" name="Арка 34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Арка 41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4" name="Арка 43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5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6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7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8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9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0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771942" y="4874182"/>
            <a:ext cx="1224272" cy="621223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771940" y="1964435"/>
            <a:ext cx="1221575" cy="708003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76900" y="1171743"/>
            <a:ext cx="2495040" cy="1585384"/>
          </a:xfrm>
        </p:spPr>
        <p:txBody>
          <a:bodyPr lIns="0" tIns="36000" rIns="72000" bIns="36000" anchor="ctr"/>
          <a:lstStyle>
            <a:lvl1pPr algn="r">
              <a:defRPr sz="1400"/>
            </a:lvl1pPr>
            <a:lvl2pPr algn="r">
              <a:defRPr sz="12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76900" y="2937228"/>
            <a:ext cx="2495040" cy="1585384"/>
          </a:xfrm>
        </p:spPr>
        <p:txBody>
          <a:bodyPr lIns="0" tIns="36000" rIns="72000" bIns="36000" anchor="ctr"/>
          <a:lstStyle>
            <a:lvl1pPr algn="r">
              <a:defRPr sz="1400"/>
            </a:lvl1pPr>
            <a:lvl2pPr algn="r">
              <a:defRPr sz="12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76900" y="4702713"/>
            <a:ext cx="2495040" cy="1585384"/>
          </a:xfrm>
        </p:spPr>
        <p:txBody>
          <a:bodyPr lIns="0" tIns="36000" rIns="72000" bIns="36000" anchor="ctr"/>
          <a:lstStyle>
            <a:lvl1pPr algn="r">
              <a:defRPr sz="1400"/>
            </a:lvl1pPr>
            <a:lvl2pPr algn="r">
              <a:defRPr sz="12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7104760" y="1171743"/>
            <a:ext cx="2528240" cy="1585384"/>
          </a:xfrm>
        </p:spPr>
        <p:txBody>
          <a:bodyPr lIns="72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7104760" y="2937228"/>
            <a:ext cx="2528240" cy="1585384"/>
          </a:xfrm>
        </p:spPr>
        <p:txBody>
          <a:bodyPr lIns="72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7104760" y="4702713"/>
            <a:ext cx="2528240" cy="1585384"/>
          </a:xfrm>
        </p:spPr>
        <p:txBody>
          <a:bodyPr lIns="72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6027407" y="4905005"/>
            <a:ext cx="1077353" cy="5904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6013549" y="1964435"/>
            <a:ext cx="1091211" cy="72038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803088" y="3729920"/>
            <a:ext cx="800697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6403730" y="3729920"/>
            <a:ext cx="681418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537733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 (рам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4637954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426335" y="4125702"/>
            <a:ext cx="9116029" cy="2309825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7402" y="1197429"/>
            <a:ext cx="9214960" cy="17308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426334" y="3038075"/>
            <a:ext cx="0" cy="9292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>
            <a:off x="5637561" y="3038075"/>
            <a:ext cx="0" cy="9292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15867" y="2967896"/>
            <a:ext cx="5031064" cy="1032429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728192" y="2967896"/>
            <a:ext cx="3814170" cy="1032429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334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9794154"/>
      </p:ext>
    </p:extLst>
  </p:cSld>
  <p:clrMapOvr>
    <a:masterClrMapping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539545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9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4637429"/>
            <a:ext cx="9906000" cy="222057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7402" y="1197429"/>
            <a:ext cx="9214960" cy="17308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426334" y="3038075"/>
            <a:ext cx="0" cy="9292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>
            <a:off x="5637561" y="3038075"/>
            <a:ext cx="0" cy="9292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15867" y="2967896"/>
            <a:ext cx="5031064" cy="1032429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728192" y="2967896"/>
            <a:ext cx="3814170" cy="1032429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334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463049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колла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4"/>
          <p:cNvSpPr>
            <a:spLocks noGrp="1"/>
          </p:cNvSpPr>
          <p:nvPr>
            <p:ph type="pic" sz="quarter" idx="21" hasCustomPrompt="1"/>
          </p:nvPr>
        </p:nvSpPr>
        <p:spPr>
          <a:xfrm>
            <a:off x="5788404" y="19"/>
            <a:ext cx="4117596" cy="2978074"/>
          </a:xfrm>
          <a:prstGeom prst="flowChartMerge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1765850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7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олилиния 37"/>
          <p:cNvSpPr/>
          <p:nvPr/>
        </p:nvSpPr>
        <p:spPr bwMode="auto">
          <a:xfrm>
            <a:off x="5248094" y="-2572"/>
            <a:ext cx="4664169" cy="6870904"/>
          </a:xfrm>
          <a:custGeom>
            <a:avLst/>
            <a:gdLst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367383 w 4360542"/>
              <a:gd name="connsiteY6" fmla="*/ 5143500 h 5143500"/>
              <a:gd name="connsiteX7" fmla="*/ 0 w 4360542"/>
              <a:gd name="connsiteY7" fmla="*/ 5143500 h 5143500"/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150407 w 4360542"/>
              <a:gd name="connsiteY6" fmla="*/ 5143500 h 5143500"/>
              <a:gd name="connsiteX7" fmla="*/ 0 w 4360542"/>
              <a:gd name="connsiteY7" fmla="*/ 5143500 h 5143500"/>
              <a:gd name="connsiteX8" fmla="*/ 0 w 4360542"/>
              <a:gd name="connsiteY8" fmla="*/ 0 h 5143500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896442 w 4360542"/>
              <a:gd name="connsiteY5" fmla="*/ 3131796 h 5151249"/>
              <a:gd name="connsiteX6" fmla="*/ 150407 w 4360542"/>
              <a:gd name="connsiteY6" fmla="*/ 5151249 h 5151249"/>
              <a:gd name="connsiteX7" fmla="*/ 0 w 4360542"/>
              <a:gd name="connsiteY7" fmla="*/ 5143500 h 5151249"/>
              <a:gd name="connsiteX8" fmla="*/ 0 w 4360542"/>
              <a:gd name="connsiteY8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0766 w 4360542"/>
              <a:gd name="connsiteY2" fmla="*/ 2527146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423327 w 4360542"/>
              <a:gd name="connsiteY1" fmla="*/ 1929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1929 h 5153178"/>
              <a:gd name="connsiteX1" fmla="*/ 427185 w 4360542"/>
              <a:gd name="connsiteY1" fmla="*/ 0 h 5153178"/>
              <a:gd name="connsiteX2" fmla="*/ 2333206 w 4360542"/>
              <a:gd name="connsiteY2" fmla="*/ 2482777 h 5153178"/>
              <a:gd name="connsiteX3" fmla="*/ 4305387 w 4360542"/>
              <a:gd name="connsiteY3" fmla="*/ 150844 h 5153178"/>
              <a:gd name="connsiteX4" fmla="*/ 4360542 w 4360542"/>
              <a:gd name="connsiteY4" fmla="*/ 197124 h 5153178"/>
              <a:gd name="connsiteX5" fmla="*/ 150407 w 4360542"/>
              <a:gd name="connsiteY5" fmla="*/ 5153178 h 5153178"/>
              <a:gd name="connsiteX6" fmla="*/ 0 w 4360542"/>
              <a:gd name="connsiteY6" fmla="*/ 5145429 h 5153178"/>
              <a:gd name="connsiteX7" fmla="*/ 0 w 4360542"/>
              <a:gd name="connsiteY7" fmla="*/ 1929 h 5153178"/>
              <a:gd name="connsiteX0" fmla="*/ 0 w 4305387"/>
              <a:gd name="connsiteY0" fmla="*/ 1929 h 5153178"/>
              <a:gd name="connsiteX1" fmla="*/ 427185 w 4305387"/>
              <a:gd name="connsiteY1" fmla="*/ 0 h 5153178"/>
              <a:gd name="connsiteX2" fmla="*/ 2333206 w 4305387"/>
              <a:gd name="connsiteY2" fmla="*/ 2482777 h 5153178"/>
              <a:gd name="connsiteX3" fmla="*/ 4305387 w 4305387"/>
              <a:gd name="connsiteY3" fmla="*/ 150844 h 5153178"/>
              <a:gd name="connsiteX4" fmla="*/ 4302669 w 4305387"/>
              <a:gd name="connsiteY4" fmla="*/ 272359 h 5153178"/>
              <a:gd name="connsiteX5" fmla="*/ 150407 w 4305387"/>
              <a:gd name="connsiteY5" fmla="*/ 5153178 h 5153178"/>
              <a:gd name="connsiteX6" fmla="*/ 0 w 4305387"/>
              <a:gd name="connsiteY6" fmla="*/ 5145429 h 5153178"/>
              <a:gd name="connsiteX7" fmla="*/ 0 w 4305387"/>
              <a:gd name="connsiteY7" fmla="*/ 1929 h 5153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05387" h="5153178">
                <a:moveTo>
                  <a:pt x="0" y="1929"/>
                </a:moveTo>
                <a:lnTo>
                  <a:pt x="427185" y="0"/>
                </a:lnTo>
                <a:lnTo>
                  <a:pt x="2333206" y="2482777"/>
                </a:lnTo>
                <a:lnTo>
                  <a:pt x="4305387" y="150844"/>
                </a:lnTo>
                <a:lnTo>
                  <a:pt x="4302669" y="272359"/>
                </a:lnTo>
                <a:lnTo>
                  <a:pt x="150407" y="5153178"/>
                </a:lnTo>
                <a:lnTo>
                  <a:pt x="0" y="5145429"/>
                </a:lnTo>
                <a:lnTo>
                  <a:pt x="0" y="1929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Рисунок 1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5420074" y="280800"/>
            <a:ext cx="4492823" cy="6577199"/>
          </a:xfrm>
          <a:custGeom>
            <a:avLst/>
            <a:gdLst>
              <a:gd name="connsiteX0" fmla="*/ 0 w 4126526"/>
              <a:gd name="connsiteY0" fmla="*/ 0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0 w 4126526"/>
              <a:gd name="connsiteY4" fmla="*/ 0 h 4838700"/>
              <a:gd name="connsiteX0" fmla="*/ 4108938 w 4126526"/>
              <a:gd name="connsiteY0" fmla="*/ 5862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4108938 w 4126526"/>
              <a:gd name="connsiteY4" fmla="*/ 5862 h 4838700"/>
              <a:gd name="connsiteX0" fmla="*/ 4108938 w 4136800"/>
              <a:gd name="connsiteY0" fmla="*/ 40794 h 4873632"/>
              <a:gd name="connsiteX1" fmla="*/ 4136800 w 4136800"/>
              <a:gd name="connsiteY1" fmla="*/ 0 h 4873632"/>
              <a:gd name="connsiteX2" fmla="*/ 4126526 w 4136800"/>
              <a:gd name="connsiteY2" fmla="*/ 4873632 h 4873632"/>
              <a:gd name="connsiteX3" fmla="*/ 0 w 4136800"/>
              <a:gd name="connsiteY3" fmla="*/ 4873632 h 4873632"/>
              <a:gd name="connsiteX4" fmla="*/ 4108938 w 4136800"/>
              <a:gd name="connsiteY4" fmla="*/ 40794 h 4873632"/>
              <a:gd name="connsiteX0" fmla="*/ 4108938 w 4137788"/>
              <a:gd name="connsiteY0" fmla="*/ 40794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4" fmla="*/ 4108938 w 4137788"/>
              <a:gd name="connsiteY4" fmla="*/ 40794 h 4873632"/>
              <a:gd name="connsiteX0" fmla="*/ 0 w 4137788"/>
              <a:gd name="connsiteY0" fmla="*/ 4873632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0" fmla="*/ 0 w 4147221"/>
              <a:gd name="connsiteY0" fmla="*/ 4932899 h 4932899"/>
              <a:gd name="connsiteX1" fmla="*/ 4147221 w 4147221"/>
              <a:gd name="connsiteY1" fmla="*/ 0 h 4932899"/>
              <a:gd name="connsiteX2" fmla="*/ 4136800 w 4147221"/>
              <a:gd name="connsiteY2" fmla="*/ 4932899 h 4932899"/>
              <a:gd name="connsiteX3" fmla="*/ 0 w 4147221"/>
              <a:gd name="connsiteY3" fmla="*/ 4932899 h 4932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47221" h="4932899">
                <a:moveTo>
                  <a:pt x="0" y="4932899"/>
                </a:moveTo>
                <a:lnTo>
                  <a:pt x="4147221" y="0"/>
                </a:lnTo>
                <a:cubicBezTo>
                  <a:pt x="4143796" y="1624544"/>
                  <a:pt x="4140225" y="3308355"/>
                  <a:pt x="4136800" y="4932899"/>
                </a:cubicBezTo>
                <a:lnTo>
                  <a:pt x="0" y="4932899"/>
                </a:lnTo>
                <a:close/>
              </a:path>
            </a:pathLst>
          </a:custGeom>
          <a:noFill/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anchor="b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11525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611527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1525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050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534987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oleObject" Target="../embeddings/oleObject11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24.xml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16.xml"/><Relationship Id="rId9" Type="http://schemas.openxmlformats.org/officeDocument/2006/relationships/vmlDrawing" Target="../drawings/vmlDrawing11.v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tags" Target="../tags/tag33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vmlDrawing" Target="../drawings/vmlDrawing17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4.xml"/><Relationship Id="rId15" Type="http://schemas.openxmlformats.org/officeDocument/2006/relationships/oleObject" Target="../embeddings/oleObject17.bin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ags" Target="../tags/tag3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vmlDrawing" Target="../drawings/vmlDrawing18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1.xml"/><Relationship Id="rId16" Type="http://schemas.openxmlformats.org/officeDocument/2006/relationships/oleObject" Target="../embeddings/oleObject18.bin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4.xml"/><Relationship Id="rId15" Type="http://schemas.openxmlformats.org/officeDocument/2006/relationships/tags" Target="../tags/tag36.xml"/><Relationship Id="rId10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tags" Target="../tags/tag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tags" Target="../tags/tag43.xml"/><Relationship Id="rId3" Type="http://schemas.openxmlformats.org/officeDocument/2006/relationships/slideLayout" Target="../slideLayouts/slideLayout43.xml"/><Relationship Id="rId7" Type="http://schemas.openxmlformats.org/officeDocument/2006/relationships/slideLayout" Target="../slideLayouts/slideLayout47.xml"/><Relationship Id="rId12" Type="http://schemas.openxmlformats.org/officeDocument/2006/relationships/vmlDrawing" Target="../drawings/vmlDrawing22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4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5.xml"/><Relationship Id="rId15" Type="http://schemas.openxmlformats.org/officeDocument/2006/relationships/oleObject" Target="../embeddings/oleObject22.bin"/><Relationship Id="rId10" Type="http://schemas.openxmlformats.org/officeDocument/2006/relationships/slideLayout" Target="../slideLayouts/slideLayout50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tags" Target="../tags/tag4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oleObject" Target="../embeddings/oleObject27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tags" Target="../tags/tag54.xml"/><Relationship Id="rId5" Type="http://schemas.openxmlformats.org/officeDocument/2006/relationships/slideLayout" Target="../slideLayouts/slideLayout55.xml"/><Relationship Id="rId10" Type="http://schemas.openxmlformats.org/officeDocument/2006/relationships/tags" Target="../tags/tag53.xml"/><Relationship Id="rId4" Type="http://schemas.openxmlformats.org/officeDocument/2006/relationships/slideLayout" Target="../slideLayouts/slideLayout54.xml"/><Relationship Id="rId9" Type="http://schemas.openxmlformats.org/officeDocument/2006/relationships/vmlDrawing" Target="../drawings/vmlDrawing27.v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6.xml"/><Relationship Id="rId3" Type="http://schemas.openxmlformats.org/officeDocument/2006/relationships/slideLayout" Target="../slideLayouts/slideLayout60.xml"/><Relationship Id="rId7" Type="http://schemas.openxmlformats.org/officeDocument/2006/relationships/tags" Target="../tags/tag55.xml"/><Relationship Id="rId2" Type="http://schemas.openxmlformats.org/officeDocument/2006/relationships/slideLayout" Target="../slideLayouts/slideLayout59.xml"/><Relationship Id="rId1" Type="http://schemas.openxmlformats.org/officeDocument/2006/relationships/slideLayout" Target="../slideLayouts/slideLayout58.xml"/><Relationship Id="rId6" Type="http://schemas.openxmlformats.org/officeDocument/2006/relationships/vmlDrawing" Target="../drawings/vmlDrawing28.vml"/><Relationship Id="rId11" Type="http://schemas.openxmlformats.org/officeDocument/2006/relationships/image" Target="../media/image2.png"/><Relationship Id="rId5" Type="http://schemas.openxmlformats.org/officeDocument/2006/relationships/theme" Target="../theme/theme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1.xml"/><Relationship Id="rId9" Type="http://schemas.openxmlformats.org/officeDocument/2006/relationships/oleObject" Target="../embeddings/oleObject2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949359775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46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6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1"/>
            <a:ext cx="966791" cy="182703"/>
          </a:xfrm>
          <a:prstGeom prst="rect">
            <a:avLst/>
          </a:prstGeom>
          <a:effectLst/>
        </p:spPr>
      </p:pic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43151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30.07.2024</a:t>
            </a:fld>
            <a:endParaRPr lang="ru-RU" dirty="0">
              <a:solidFill>
                <a:srgbClr val="008C95"/>
              </a:solidFill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31" name="Rectangle 4" hidden="1"/>
          <p:cNvSpPr/>
          <p:nvPr userDrawn="1">
            <p:custDataLst>
              <p:tags r:id="rId17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7752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4" r:id="rId1"/>
    <p:sldLayoutId id="2147484205" r:id="rId2"/>
    <p:sldLayoutId id="2147484206" r:id="rId3"/>
    <p:sldLayoutId id="2147484207" r:id="rId4"/>
    <p:sldLayoutId id="2147484208" r:id="rId5"/>
    <p:sldLayoutId id="2147484209" r:id="rId6"/>
    <p:sldLayoutId id="2147484210" r:id="rId7"/>
    <p:sldLayoutId id="2147484211" r:id="rId8"/>
    <p:sldLayoutId id="2147484212" r:id="rId9"/>
    <p:sldLayoutId id="2147484213" r:id="rId10"/>
    <p:sldLayoutId id="2147484214" r:id="rId11"/>
    <p:sldLayoutId id="2147484217" r:id="rId12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282055633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87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1"/>
            <a:ext cx="966791" cy="18270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011733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9" r:id="rId1"/>
    <p:sldLayoutId id="2147484220" r:id="rId2"/>
    <p:sldLayoutId id="2147484221" r:id="rId3"/>
    <p:sldLayoutId id="2147484222" r:id="rId4"/>
    <p:sldLayoutId id="2147484223" r:id="rId5"/>
    <p:sldLayoutId id="2147484224" r:id="rId6"/>
    <p:sldLayoutId id="2147484272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38727754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3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4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1"/>
            <a:ext cx="966791" cy="18270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7659792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72977234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54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1"/>
            <a:ext cx="966791" cy="18270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42919381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7" r:id="rId1"/>
    <p:sldLayoutId id="2147484238" r:id="rId2"/>
    <p:sldLayoutId id="2147484239" r:id="rId3"/>
    <p:sldLayoutId id="2147484240" r:id="rId4"/>
    <p:sldLayoutId id="2147484241" r:id="rId5"/>
    <p:sldLayoutId id="2147484242" r:id="rId6"/>
    <p:sldLayoutId id="2147484243" r:id="rId7"/>
    <p:sldLayoutId id="2147484244" r:id="rId8"/>
    <p:sldLayoutId id="2147484245" r:id="rId9"/>
    <p:sldLayoutId id="2147484246" r:id="rId10"/>
    <p:sldLayoutId id="2147484247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96198923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50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4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1"/>
            <a:ext cx="966791" cy="18270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3353006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9" r:id="rId1"/>
    <p:sldLayoutId id="2147484250" r:id="rId2"/>
    <p:sldLayoutId id="2147484251" r:id="rId3"/>
    <p:sldLayoutId id="2147484252" r:id="rId4"/>
    <p:sldLayoutId id="2147484253" r:id="rId5"/>
    <p:sldLayoutId id="2147484254" r:id="rId6"/>
    <p:sldLayoutId id="2147484255" r:id="rId7"/>
    <p:sldLayoutId id="2147484256" r:id="rId8"/>
    <p:sldLayoutId id="2147484257" r:id="rId9"/>
    <p:sldLayoutId id="2147484258" r:id="rId10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93140774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7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1"/>
            <a:ext cx="966791" cy="18270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5448464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  <p:sldLayoutId id="2147484264" r:id="rId5"/>
    <p:sldLayoutId id="2147484265" r:id="rId6"/>
    <p:sldLayoutId id="2147484266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101892358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9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1"/>
            <a:ext cx="966791" cy="182703"/>
          </a:xfrm>
          <a:prstGeom prst="rect">
            <a:avLst/>
          </a:prstGeom>
          <a:effectLst/>
        </p:spPr>
      </p:pic>
    </p:spTree>
    <p:extLst>
      <p:ext uri="{BB962C8B-B14F-4D97-AF65-F5344CB8AC3E}">
        <p14:creationId xmlns:p14="http://schemas.microsoft.com/office/powerpoint/2010/main" val="17344772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8" r:id="rId1"/>
    <p:sldLayoutId id="2147484269" r:id="rId2"/>
    <p:sldLayoutId id="2147484270" r:id="rId3"/>
    <p:sldLayoutId id="2147484271" r:id="rId4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tags" Target="../tags/tag58.xml"/><Relationship Id="rId7" Type="http://schemas.openxmlformats.org/officeDocument/2006/relationships/tags" Target="../tags/tag62.xml"/><Relationship Id="rId12" Type="http://schemas.openxmlformats.org/officeDocument/2006/relationships/image" Target="../media/image11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tags" Target="../tags/tag61.xml"/><Relationship Id="rId11" Type="http://schemas.openxmlformats.org/officeDocument/2006/relationships/image" Target="../media/image10.png"/><Relationship Id="rId5" Type="http://schemas.openxmlformats.org/officeDocument/2006/relationships/tags" Target="../tags/tag60.xml"/><Relationship Id="rId10" Type="http://schemas.openxmlformats.org/officeDocument/2006/relationships/image" Target="../media/image3.emf"/><Relationship Id="rId4" Type="http://schemas.openxmlformats.org/officeDocument/2006/relationships/tags" Target="../tags/tag59.xml"/><Relationship Id="rId9" Type="http://schemas.openxmlformats.org/officeDocument/2006/relationships/oleObject" Target="../embeddings/oleObject29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oleObject" Target="../embeddings/oleObject31.bin"/><Relationship Id="rId2" Type="http://schemas.openxmlformats.org/officeDocument/2006/relationships/tags" Target="../tags/tag64.xml"/><Relationship Id="rId1" Type="http://schemas.openxmlformats.org/officeDocument/2006/relationships/vmlDrawing" Target="../drawings/vmlDrawing31.v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9.xml"/><Relationship Id="rId4" Type="http://schemas.openxmlformats.org/officeDocument/2006/relationships/tags" Target="../tags/tag6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9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A0CD2264-46B4-D04B-8CA8-D9D92B74AD0A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91675" y="6534150"/>
            <a:ext cx="314325" cy="2381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1</a:t>
            </a:fld>
            <a:endParaRPr lang="ru-RU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778BF028-DD61-434C-85F8-35BA93F04DD3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290513" y="1970088"/>
            <a:ext cx="9324975" cy="846137"/>
          </a:xfrm>
        </p:spPr>
        <p:txBody>
          <a:bodyPr/>
          <a:lstStyle/>
          <a:p>
            <a:r>
              <a:rPr lang="ru-RU" sz="2400" dirty="0"/>
              <a:t>Размещение вендинговых аппаратов</a:t>
            </a:r>
            <a:br>
              <a:rPr lang="ru-RU" sz="2400" dirty="0"/>
            </a:br>
            <a:r>
              <a:rPr lang="ru-RU" sz="2400" dirty="0"/>
              <a:t>НА ТЕРРИТОРИИ АЭРОПОРТА ТОБОЛЬСК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81A4D0-A90B-6442-9377-FAA7C02B8585}"/>
              </a:ext>
            </a:extLst>
          </p:cNvPr>
          <p:cNvSpPr txBox="1"/>
          <p:nvPr/>
        </p:nvSpPr>
        <p:spPr>
          <a:xfrm>
            <a:off x="451369" y="5450491"/>
            <a:ext cx="1319464" cy="363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i="1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Июль 2024</a:t>
            </a:r>
          </a:p>
        </p:txBody>
      </p:sp>
    </p:spTree>
    <p:extLst>
      <p:ext uri="{BB962C8B-B14F-4D97-AF65-F5344CB8AC3E}">
        <p14:creationId xmlns:p14="http://schemas.microsoft.com/office/powerpoint/2010/main" val="19286144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02" name="think-cell Slide" r:id="rId9" imgW="530" imgH="531" progId="TCLayout.ActiveDocument.1">
                  <p:embed/>
                </p:oleObj>
              </mc:Choice>
              <mc:Fallback>
                <p:oleObj name="think-cell Slide" r:id="rId9" imgW="530" imgH="531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 idx="4294967295"/>
          </p:nvPr>
        </p:nvSpPr>
        <p:spPr>
          <a:xfrm>
            <a:off x="549275" y="273050"/>
            <a:ext cx="9356725" cy="704850"/>
          </a:xfrm>
        </p:spPr>
        <p:txBody>
          <a:bodyPr/>
          <a:lstStyle/>
          <a:p>
            <a:r>
              <a:rPr lang="ru-RU" dirty="0"/>
              <a:t>АЭРОПОРТ. КЛЮЧЕВЫЕ ДАННЫЕ</a:t>
            </a:r>
            <a:endParaRPr lang="en-US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9591675" y="6534150"/>
            <a:ext cx="314325" cy="2381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cxnSp>
        <p:nvCxnSpPr>
          <p:cNvPr id="71" name="Прямая соединительная линия 70"/>
          <p:cNvCxnSpPr/>
          <p:nvPr/>
        </p:nvCxnSpPr>
        <p:spPr bwMode="auto">
          <a:xfrm>
            <a:off x="0" y="866469"/>
            <a:ext cx="615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EF6AE2E1-7807-FE45-9CB8-AF106F820E58}"/>
              </a:ext>
            </a:extLst>
          </p:cNvPr>
          <p:cNvGrpSpPr/>
          <p:nvPr/>
        </p:nvGrpSpPr>
        <p:grpSpPr>
          <a:xfrm>
            <a:off x="276900" y="1212499"/>
            <a:ext cx="2772404" cy="4458342"/>
            <a:chOff x="239655" y="1759151"/>
            <a:chExt cx="2772404" cy="4458342"/>
          </a:xfrm>
        </p:grpSpPr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99E6FEF1-8AC3-FC4C-A35E-61C613A33199}"/>
                </a:ext>
              </a:extLst>
            </p:cNvPr>
            <p:cNvGrpSpPr/>
            <p:nvPr/>
          </p:nvGrpSpPr>
          <p:grpSpPr>
            <a:xfrm>
              <a:off x="261440" y="1759151"/>
              <a:ext cx="2750619" cy="816888"/>
              <a:chOff x="261440" y="1759151"/>
              <a:chExt cx="2750619" cy="816888"/>
            </a:xfrm>
          </p:grpSpPr>
          <p:sp>
            <p:nvSpPr>
              <p:cNvPr id="40" name="Овал 39"/>
              <p:cNvSpPr/>
              <p:nvPr/>
            </p:nvSpPr>
            <p:spPr bwMode="auto">
              <a:xfrm>
                <a:off x="306325" y="2031658"/>
                <a:ext cx="540000" cy="540000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3" name="Прямоугольник 14"/>
              <p:cNvSpPr/>
              <p:nvPr>
                <p:custDataLst>
                  <p:tags r:id="rId7"/>
                </p:custDataLst>
              </p:nvPr>
            </p:nvSpPr>
            <p:spPr bwMode="auto">
              <a:xfrm>
                <a:off x="1001191" y="1759151"/>
                <a:ext cx="2010868" cy="816888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680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r>
                  <a:rPr lang="ru-RU" sz="1200" b="1" dirty="0">
                    <a:solidFill>
                      <a:schemeClr val="accent3"/>
                    </a:solidFill>
                  </a:rPr>
                  <a:t>ОКТЯБРЬ </a:t>
                </a:r>
                <a:r>
                  <a:rPr lang="ru-RU" sz="2000" b="1" dirty="0">
                    <a:solidFill>
                      <a:schemeClr val="accent3"/>
                    </a:solidFill>
                  </a:rPr>
                  <a:t>2021</a:t>
                </a:r>
                <a:r>
                  <a:rPr lang="ru-RU" sz="1400" b="1" dirty="0">
                    <a:solidFill>
                      <a:schemeClr val="accent3"/>
                    </a:solidFill>
                  </a:rPr>
                  <a:t> </a:t>
                </a:r>
                <a:r>
                  <a:rPr lang="ru-RU" sz="1100" b="1" dirty="0">
                    <a:solidFill>
                      <a:schemeClr val="accent3"/>
                    </a:solidFill>
                  </a:rPr>
                  <a:t>Г. </a:t>
                </a:r>
              </a:p>
              <a:p>
                <a:pPr>
                  <a:defRPr/>
                </a:pPr>
                <a:r>
                  <a:rPr lang="ru-RU" sz="1100" dirty="0">
                    <a:solidFill>
                      <a:schemeClr val="accent3"/>
                    </a:solidFill>
                  </a:rPr>
                  <a:t>Ввод в эксплуатацию </a:t>
                </a:r>
              </a:p>
            </p:txBody>
          </p:sp>
          <p:grpSp>
            <p:nvGrpSpPr>
              <p:cNvPr id="44" name="Группа 43"/>
              <p:cNvGrpSpPr>
                <a:grpSpLocks noChangeAspect="1"/>
              </p:cNvGrpSpPr>
              <p:nvPr/>
            </p:nvGrpSpPr>
            <p:grpSpPr>
              <a:xfrm rot="16200000">
                <a:off x="218596" y="1977740"/>
                <a:ext cx="576000" cy="490311"/>
                <a:chOff x="368192" y="3661544"/>
                <a:chExt cx="360000" cy="360000"/>
              </a:xfrm>
            </p:grpSpPr>
            <p:grpSp>
              <p:nvGrpSpPr>
                <p:cNvPr id="45" name="Группа 44"/>
                <p:cNvGrpSpPr>
                  <a:grpSpLocks noChangeAspect="1"/>
                </p:cNvGrpSpPr>
                <p:nvPr/>
              </p:nvGrpSpPr>
              <p:grpSpPr>
                <a:xfrm>
                  <a:off x="438654" y="3678429"/>
                  <a:ext cx="219076" cy="326231"/>
                  <a:chOff x="623116" y="3224836"/>
                  <a:chExt cx="292101" cy="434975"/>
                </a:xfrm>
                <a:solidFill>
                  <a:schemeClr val="accent1"/>
                </a:solidFill>
              </p:grpSpPr>
              <p:sp>
                <p:nvSpPr>
                  <p:cNvPr id="47" name="Freeform 1223"/>
                  <p:cNvSpPr>
                    <a:spLocks noEditPoints="1"/>
                  </p:cNvSpPr>
                  <p:nvPr/>
                </p:nvSpPr>
                <p:spPr bwMode="auto">
                  <a:xfrm>
                    <a:off x="805679" y="3532811"/>
                    <a:ext cx="55563" cy="127000"/>
                  </a:xfrm>
                  <a:custGeom>
                    <a:avLst/>
                    <a:gdLst>
                      <a:gd name="T0" fmla="*/ 0 w 67"/>
                      <a:gd name="T1" fmla="*/ 151 h 151"/>
                      <a:gd name="T2" fmla="*/ 0 w 67"/>
                      <a:gd name="T3" fmla="*/ 0 h 151"/>
                      <a:gd name="T4" fmla="*/ 46 w 67"/>
                      <a:gd name="T5" fmla="*/ 46 h 151"/>
                      <a:gd name="T6" fmla="*/ 62 w 67"/>
                      <a:gd name="T7" fmla="*/ 56 h 151"/>
                      <a:gd name="T8" fmla="*/ 67 w 67"/>
                      <a:gd name="T9" fmla="*/ 58 h 151"/>
                      <a:gd name="T10" fmla="*/ 67 w 67"/>
                      <a:gd name="T11" fmla="*/ 151 h 151"/>
                      <a:gd name="T12" fmla="*/ 34 w 67"/>
                      <a:gd name="T13" fmla="*/ 117 h 151"/>
                      <a:gd name="T14" fmla="*/ 0 w 67"/>
                      <a:gd name="T15" fmla="*/ 151 h 151"/>
                      <a:gd name="T16" fmla="*/ 34 w 67"/>
                      <a:gd name="T17" fmla="*/ 95 h 151"/>
                      <a:gd name="T18" fmla="*/ 51 w 67"/>
                      <a:gd name="T19" fmla="*/ 113 h 151"/>
                      <a:gd name="T20" fmla="*/ 51 w 67"/>
                      <a:gd name="T21" fmla="*/ 69 h 151"/>
                      <a:gd name="T22" fmla="*/ 35 w 67"/>
                      <a:gd name="T23" fmla="*/ 57 h 151"/>
                      <a:gd name="T24" fmla="*/ 16 w 67"/>
                      <a:gd name="T25" fmla="*/ 37 h 151"/>
                      <a:gd name="T26" fmla="*/ 16 w 67"/>
                      <a:gd name="T27" fmla="*/ 113 h 151"/>
                      <a:gd name="T28" fmla="*/ 34 w 67"/>
                      <a:gd name="T29" fmla="*/ 95 h 1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</a:cxnLst>
                    <a:rect l="0" t="0" r="r" b="b"/>
                    <a:pathLst>
                      <a:path w="67" h="151">
                        <a:moveTo>
                          <a:pt x="0" y="151"/>
                        </a:moveTo>
                        <a:cubicBezTo>
                          <a:pt x="0" y="0"/>
                          <a:pt x="0" y="0"/>
                          <a:pt x="0" y="0"/>
                        </a:cubicBezTo>
                        <a:cubicBezTo>
                          <a:pt x="46" y="46"/>
                          <a:pt x="46" y="46"/>
                          <a:pt x="46" y="46"/>
                        </a:cubicBezTo>
                        <a:cubicBezTo>
                          <a:pt x="50" y="50"/>
                          <a:pt x="56" y="54"/>
                          <a:pt x="62" y="56"/>
                        </a:cubicBezTo>
                        <a:cubicBezTo>
                          <a:pt x="67" y="58"/>
                          <a:pt x="67" y="58"/>
                          <a:pt x="67" y="58"/>
                        </a:cubicBezTo>
                        <a:cubicBezTo>
                          <a:pt x="67" y="151"/>
                          <a:pt x="67" y="151"/>
                          <a:pt x="67" y="151"/>
                        </a:cubicBezTo>
                        <a:cubicBezTo>
                          <a:pt x="34" y="117"/>
                          <a:pt x="34" y="117"/>
                          <a:pt x="34" y="117"/>
                        </a:cubicBezTo>
                        <a:lnTo>
                          <a:pt x="0" y="151"/>
                        </a:lnTo>
                        <a:close/>
                        <a:moveTo>
                          <a:pt x="34" y="95"/>
                        </a:moveTo>
                        <a:cubicBezTo>
                          <a:pt x="51" y="113"/>
                          <a:pt x="51" y="113"/>
                          <a:pt x="51" y="113"/>
                        </a:cubicBezTo>
                        <a:cubicBezTo>
                          <a:pt x="51" y="69"/>
                          <a:pt x="51" y="69"/>
                          <a:pt x="51" y="69"/>
                        </a:cubicBezTo>
                        <a:cubicBezTo>
                          <a:pt x="45" y="65"/>
                          <a:pt x="40" y="61"/>
                          <a:pt x="35" y="57"/>
                        </a:cubicBezTo>
                        <a:cubicBezTo>
                          <a:pt x="16" y="37"/>
                          <a:pt x="16" y="37"/>
                          <a:pt x="16" y="37"/>
                        </a:cubicBezTo>
                        <a:cubicBezTo>
                          <a:pt x="16" y="113"/>
                          <a:pt x="16" y="113"/>
                          <a:pt x="16" y="113"/>
                        </a:cubicBezTo>
                        <a:lnTo>
                          <a:pt x="34" y="95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48" name="Freeform 1224"/>
                  <p:cNvSpPr>
                    <a:spLocks noEditPoints="1"/>
                  </p:cNvSpPr>
                  <p:nvPr/>
                </p:nvSpPr>
                <p:spPr bwMode="auto">
                  <a:xfrm>
                    <a:off x="796154" y="3474073"/>
                    <a:ext cx="65088" cy="65088"/>
                  </a:xfrm>
                  <a:custGeom>
                    <a:avLst/>
                    <a:gdLst>
                      <a:gd name="T0" fmla="*/ 41 w 41"/>
                      <a:gd name="T1" fmla="*/ 41 h 41"/>
                      <a:gd name="T2" fmla="*/ 0 w 41"/>
                      <a:gd name="T3" fmla="*/ 0 h 41"/>
                      <a:gd name="T4" fmla="*/ 41 w 41"/>
                      <a:gd name="T5" fmla="*/ 0 h 41"/>
                      <a:gd name="T6" fmla="*/ 41 w 41"/>
                      <a:gd name="T7" fmla="*/ 41 h 41"/>
                      <a:gd name="T8" fmla="*/ 20 w 41"/>
                      <a:gd name="T9" fmla="*/ 9 h 41"/>
                      <a:gd name="T10" fmla="*/ 32 w 41"/>
                      <a:gd name="T11" fmla="*/ 22 h 41"/>
                      <a:gd name="T12" fmla="*/ 32 w 41"/>
                      <a:gd name="T13" fmla="*/ 9 h 41"/>
                      <a:gd name="T14" fmla="*/ 20 w 41"/>
                      <a:gd name="T15" fmla="*/ 9 h 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</a:cxnLst>
                    <a:rect l="0" t="0" r="r" b="b"/>
                    <a:pathLst>
                      <a:path w="41" h="41">
                        <a:moveTo>
                          <a:pt x="41" y="41"/>
                        </a:moveTo>
                        <a:lnTo>
                          <a:pt x="0" y="0"/>
                        </a:lnTo>
                        <a:lnTo>
                          <a:pt x="41" y="0"/>
                        </a:lnTo>
                        <a:lnTo>
                          <a:pt x="41" y="41"/>
                        </a:lnTo>
                        <a:close/>
                        <a:moveTo>
                          <a:pt x="20" y="9"/>
                        </a:moveTo>
                        <a:lnTo>
                          <a:pt x="32" y="22"/>
                        </a:lnTo>
                        <a:lnTo>
                          <a:pt x="32" y="9"/>
                        </a:lnTo>
                        <a:lnTo>
                          <a:pt x="20" y="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49" name="Freeform 1225"/>
                  <p:cNvSpPr>
                    <a:spLocks/>
                  </p:cNvSpPr>
                  <p:nvPr/>
                </p:nvSpPr>
                <p:spPr bwMode="auto">
                  <a:xfrm>
                    <a:off x="643754" y="3329611"/>
                    <a:ext cx="171450" cy="204788"/>
                  </a:xfrm>
                  <a:custGeom>
                    <a:avLst/>
                    <a:gdLst>
                      <a:gd name="T0" fmla="*/ 11 w 206"/>
                      <a:gd name="T1" fmla="*/ 246 h 246"/>
                      <a:gd name="T2" fmla="*/ 0 w 206"/>
                      <a:gd name="T3" fmla="*/ 235 h 246"/>
                      <a:gd name="T4" fmla="*/ 87 w 206"/>
                      <a:gd name="T5" fmla="*/ 149 h 246"/>
                      <a:gd name="T6" fmla="*/ 93 w 206"/>
                      <a:gd name="T7" fmla="*/ 134 h 246"/>
                      <a:gd name="T8" fmla="*/ 87 w 206"/>
                      <a:gd name="T9" fmla="*/ 120 h 246"/>
                      <a:gd name="T10" fmla="*/ 81 w 206"/>
                      <a:gd name="T11" fmla="*/ 114 h 246"/>
                      <a:gd name="T12" fmla="*/ 195 w 206"/>
                      <a:gd name="T13" fmla="*/ 0 h 246"/>
                      <a:gd name="T14" fmla="*/ 206 w 206"/>
                      <a:gd name="T15" fmla="*/ 11 h 246"/>
                      <a:gd name="T16" fmla="*/ 103 w 206"/>
                      <a:gd name="T17" fmla="*/ 115 h 246"/>
                      <a:gd name="T18" fmla="*/ 109 w 206"/>
                      <a:gd name="T19" fmla="*/ 134 h 246"/>
                      <a:gd name="T20" fmla="*/ 98 w 206"/>
                      <a:gd name="T21" fmla="*/ 160 h 246"/>
                      <a:gd name="T22" fmla="*/ 11 w 206"/>
                      <a:gd name="T23" fmla="*/ 246 h 24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06" h="246">
                        <a:moveTo>
                          <a:pt x="11" y="246"/>
                        </a:moveTo>
                        <a:cubicBezTo>
                          <a:pt x="0" y="235"/>
                          <a:pt x="0" y="235"/>
                          <a:pt x="0" y="235"/>
                        </a:cubicBezTo>
                        <a:cubicBezTo>
                          <a:pt x="87" y="149"/>
                          <a:pt x="87" y="149"/>
                          <a:pt x="87" y="149"/>
                        </a:cubicBezTo>
                        <a:cubicBezTo>
                          <a:pt x="91" y="145"/>
                          <a:pt x="93" y="140"/>
                          <a:pt x="93" y="134"/>
                        </a:cubicBezTo>
                        <a:cubicBezTo>
                          <a:pt x="93" y="129"/>
                          <a:pt x="91" y="123"/>
                          <a:pt x="87" y="120"/>
                        </a:cubicBezTo>
                        <a:cubicBezTo>
                          <a:pt x="81" y="114"/>
                          <a:pt x="81" y="114"/>
                          <a:pt x="81" y="114"/>
                        </a:cubicBezTo>
                        <a:cubicBezTo>
                          <a:pt x="195" y="0"/>
                          <a:pt x="195" y="0"/>
                          <a:pt x="195" y="0"/>
                        </a:cubicBezTo>
                        <a:cubicBezTo>
                          <a:pt x="206" y="11"/>
                          <a:pt x="206" y="11"/>
                          <a:pt x="206" y="11"/>
                        </a:cubicBezTo>
                        <a:cubicBezTo>
                          <a:pt x="103" y="115"/>
                          <a:pt x="103" y="115"/>
                          <a:pt x="103" y="115"/>
                        </a:cubicBezTo>
                        <a:cubicBezTo>
                          <a:pt x="107" y="120"/>
                          <a:pt x="109" y="127"/>
                          <a:pt x="109" y="134"/>
                        </a:cubicBezTo>
                        <a:cubicBezTo>
                          <a:pt x="109" y="144"/>
                          <a:pt x="105" y="153"/>
                          <a:pt x="98" y="160"/>
                        </a:cubicBezTo>
                        <a:lnTo>
                          <a:pt x="11" y="246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0" name="Freeform 1226"/>
                  <p:cNvSpPr>
                    <a:spLocks/>
                  </p:cNvSpPr>
                  <p:nvPr/>
                </p:nvSpPr>
                <p:spPr bwMode="auto">
                  <a:xfrm>
                    <a:off x="689791" y="3397873"/>
                    <a:ext cx="125413" cy="125413"/>
                  </a:xfrm>
                  <a:custGeom>
                    <a:avLst/>
                    <a:gdLst>
                      <a:gd name="T0" fmla="*/ 6 w 79"/>
                      <a:gd name="T1" fmla="*/ 79 h 79"/>
                      <a:gd name="T2" fmla="*/ 0 w 79"/>
                      <a:gd name="T3" fmla="*/ 73 h 79"/>
                      <a:gd name="T4" fmla="*/ 74 w 79"/>
                      <a:gd name="T5" fmla="*/ 0 h 79"/>
                      <a:gd name="T6" fmla="*/ 79 w 79"/>
                      <a:gd name="T7" fmla="*/ 5 h 79"/>
                      <a:gd name="T8" fmla="*/ 6 w 79"/>
                      <a:gd name="T9" fmla="*/ 79 h 7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79" h="79">
                        <a:moveTo>
                          <a:pt x="6" y="79"/>
                        </a:moveTo>
                        <a:lnTo>
                          <a:pt x="0" y="73"/>
                        </a:lnTo>
                        <a:lnTo>
                          <a:pt x="74" y="0"/>
                        </a:lnTo>
                        <a:lnTo>
                          <a:pt x="79" y="5"/>
                        </a:lnTo>
                        <a:lnTo>
                          <a:pt x="6" y="79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1" name="Freeform 1227"/>
                  <p:cNvSpPr>
                    <a:spLocks/>
                  </p:cNvSpPr>
                  <p:nvPr/>
                </p:nvSpPr>
                <p:spPr bwMode="auto">
                  <a:xfrm>
                    <a:off x="850129" y="3285161"/>
                    <a:ext cx="65088" cy="77788"/>
                  </a:xfrm>
                  <a:custGeom>
                    <a:avLst/>
                    <a:gdLst>
                      <a:gd name="T0" fmla="*/ 11 w 78"/>
                      <a:gd name="T1" fmla="*/ 93 h 93"/>
                      <a:gd name="T2" fmla="*/ 0 w 78"/>
                      <a:gd name="T3" fmla="*/ 82 h 93"/>
                      <a:gd name="T4" fmla="*/ 55 w 78"/>
                      <a:gd name="T5" fmla="*/ 27 h 93"/>
                      <a:gd name="T6" fmla="*/ 46 w 78"/>
                      <a:gd name="T7" fmla="*/ 21 h 93"/>
                      <a:gd name="T8" fmla="*/ 8 w 78"/>
                      <a:gd name="T9" fmla="*/ 21 h 93"/>
                      <a:gd name="T10" fmla="*/ 2 w 78"/>
                      <a:gd name="T11" fmla="*/ 7 h 93"/>
                      <a:gd name="T12" fmla="*/ 52 w 78"/>
                      <a:gd name="T13" fmla="*/ 7 h 93"/>
                      <a:gd name="T14" fmla="*/ 72 w 78"/>
                      <a:gd name="T15" fmla="*/ 21 h 93"/>
                      <a:gd name="T16" fmla="*/ 78 w 78"/>
                      <a:gd name="T17" fmla="*/ 26 h 93"/>
                      <a:gd name="T18" fmla="*/ 11 w 78"/>
                      <a:gd name="T19" fmla="*/ 93 h 9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78" h="93">
                        <a:moveTo>
                          <a:pt x="11" y="93"/>
                        </a:moveTo>
                        <a:cubicBezTo>
                          <a:pt x="0" y="82"/>
                          <a:pt x="0" y="82"/>
                          <a:pt x="0" y="82"/>
                        </a:cubicBezTo>
                        <a:cubicBezTo>
                          <a:pt x="55" y="27"/>
                          <a:pt x="55" y="27"/>
                          <a:pt x="55" y="27"/>
                        </a:cubicBezTo>
                        <a:cubicBezTo>
                          <a:pt x="52" y="24"/>
                          <a:pt x="49" y="23"/>
                          <a:pt x="46" y="21"/>
                        </a:cubicBezTo>
                        <a:cubicBezTo>
                          <a:pt x="34" y="16"/>
                          <a:pt x="20" y="16"/>
                          <a:pt x="8" y="21"/>
                        </a:cubicBezTo>
                        <a:cubicBezTo>
                          <a:pt x="2" y="7"/>
                          <a:pt x="2" y="7"/>
                          <a:pt x="2" y="7"/>
                        </a:cubicBezTo>
                        <a:cubicBezTo>
                          <a:pt x="18" y="0"/>
                          <a:pt x="36" y="0"/>
                          <a:pt x="52" y="7"/>
                        </a:cubicBezTo>
                        <a:cubicBezTo>
                          <a:pt x="59" y="10"/>
                          <a:pt x="66" y="15"/>
                          <a:pt x="72" y="21"/>
                        </a:cubicBezTo>
                        <a:cubicBezTo>
                          <a:pt x="78" y="26"/>
                          <a:pt x="78" y="26"/>
                          <a:pt x="78" y="26"/>
                        </a:cubicBezTo>
                        <a:lnTo>
                          <a:pt x="11" y="93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2" name="Freeform 1228"/>
                  <p:cNvSpPr>
                    <a:spLocks noEditPoints="1"/>
                  </p:cNvSpPr>
                  <p:nvPr/>
                </p:nvSpPr>
                <p:spPr bwMode="auto">
                  <a:xfrm>
                    <a:off x="629466" y="3510586"/>
                    <a:ext cx="107950" cy="107950"/>
                  </a:xfrm>
                  <a:custGeom>
                    <a:avLst/>
                    <a:gdLst>
                      <a:gd name="T0" fmla="*/ 64 w 129"/>
                      <a:gd name="T1" fmla="*/ 130 h 130"/>
                      <a:gd name="T2" fmla="*/ 18 w 129"/>
                      <a:gd name="T3" fmla="*/ 111 h 130"/>
                      <a:gd name="T4" fmla="*/ 0 w 129"/>
                      <a:gd name="T5" fmla="*/ 65 h 130"/>
                      <a:gd name="T6" fmla="*/ 18 w 129"/>
                      <a:gd name="T7" fmla="*/ 19 h 130"/>
                      <a:gd name="T8" fmla="*/ 64 w 129"/>
                      <a:gd name="T9" fmla="*/ 0 h 130"/>
                      <a:gd name="T10" fmla="*/ 110 w 129"/>
                      <a:gd name="T11" fmla="*/ 19 h 130"/>
                      <a:gd name="T12" fmla="*/ 129 w 129"/>
                      <a:gd name="T13" fmla="*/ 65 h 130"/>
                      <a:gd name="T14" fmla="*/ 110 w 129"/>
                      <a:gd name="T15" fmla="*/ 111 h 130"/>
                      <a:gd name="T16" fmla="*/ 64 w 129"/>
                      <a:gd name="T17" fmla="*/ 130 h 130"/>
                      <a:gd name="T18" fmla="*/ 64 w 129"/>
                      <a:gd name="T19" fmla="*/ 16 h 130"/>
                      <a:gd name="T20" fmla="*/ 29 w 129"/>
                      <a:gd name="T21" fmla="*/ 30 h 130"/>
                      <a:gd name="T22" fmla="*/ 15 w 129"/>
                      <a:gd name="T23" fmla="*/ 65 h 130"/>
                      <a:gd name="T24" fmla="*/ 29 w 129"/>
                      <a:gd name="T25" fmla="*/ 100 h 130"/>
                      <a:gd name="T26" fmla="*/ 64 w 129"/>
                      <a:gd name="T27" fmla="*/ 114 h 130"/>
                      <a:gd name="T28" fmla="*/ 99 w 129"/>
                      <a:gd name="T29" fmla="*/ 100 h 130"/>
                      <a:gd name="T30" fmla="*/ 113 w 129"/>
                      <a:gd name="T31" fmla="*/ 65 h 130"/>
                      <a:gd name="T32" fmla="*/ 99 w 129"/>
                      <a:gd name="T33" fmla="*/ 30 h 130"/>
                      <a:gd name="T34" fmla="*/ 64 w 129"/>
                      <a:gd name="T35" fmla="*/ 16 h 13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129" h="130">
                        <a:moveTo>
                          <a:pt x="64" y="130"/>
                        </a:moveTo>
                        <a:cubicBezTo>
                          <a:pt x="47" y="130"/>
                          <a:pt x="31" y="123"/>
                          <a:pt x="18" y="111"/>
                        </a:cubicBezTo>
                        <a:cubicBezTo>
                          <a:pt x="6" y="99"/>
                          <a:pt x="0" y="82"/>
                          <a:pt x="0" y="65"/>
                        </a:cubicBezTo>
                        <a:cubicBezTo>
                          <a:pt x="0" y="48"/>
                          <a:pt x="6" y="32"/>
                          <a:pt x="18" y="19"/>
                        </a:cubicBezTo>
                        <a:cubicBezTo>
                          <a:pt x="31" y="7"/>
                          <a:pt x="47" y="0"/>
                          <a:pt x="64" y="0"/>
                        </a:cubicBezTo>
                        <a:cubicBezTo>
                          <a:pt x="81" y="0"/>
                          <a:pt x="98" y="7"/>
                          <a:pt x="110" y="19"/>
                        </a:cubicBezTo>
                        <a:cubicBezTo>
                          <a:pt x="122" y="31"/>
                          <a:pt x="129" y="48"/>
                          <a:pt x="129" y="65"/>
                        </a:cubicBezTo>
                        <a:cubicBezTo>
                          <a:pt x="129" y="82"/>
                          <a:pt x="122" y="99"/>
                          <a:pt x="110" y="111"/>
                        </a:cubicBezTo>
                        <a:cubicBezTo>
                          <a:pt x="98" y="123"/>
                          <a:pt x="81" y="130"/>
                          <a:pt x="64" y="130"/>
                        </a:cubicBezTo>
                        <a:close/>
                        <a:moveTo>
                          <a:pt x="64" y="16"/>
                        </a:moveTo>
                        <a:cubicBezTo>
                          <a:pt x="51" y="16"/>
                          <a:pt x="39" y="21"/>
                          <a:pt x="29" y="30"/>
                        </a:cubicBezTo>
                        <a:cubicBezTo>
                          <a:pt x="20" y="40"/>
                          <a:pt x="15" y="52"/>
                          <a:pt x="15" y="65"/>
                        </a:cubicBezTo>
                        <a:cubicBezTo>
                          <a:pt x="15" y="78"/>
                          <a:pt x="20" y="90"/>
                          <a:pt x="29" y="100"/>
                        </a:cubicBezTo>
                        <a:cubicBezTo>
                          <a:pt x="39" y="109"/>
                          <a:pt x="51" y="114"/>
                          <a:pt x="64" y="114"/>
                        </a:cubicBezTo>
                        <a:cubicBezTo>
                          <a:pt x="77" y="114"/>
                          <a:pt x="90" y="109"/>
                          <a:pt x="99" y="100"/>
                        </a:cubicBezTo>
                        <a:cubicBezTo>
                          <a:pt x="108" y="90"/>
                          <a:pt x="113" y="78"/>
                          <a:pt x="113" y="65"/>
                        </a:cubicBezTo>
                        <a:cubicBezTo>
                          <a:pt x="113" y="52"/>
                          <a:pt x="108" y="40"/>
                          <a:pt x="99" y="30"/>
                        </a:cubicBezTo>
                        <a:cubicBezTo>
                          <a:pt x="90" y="21"/>
                          <a:pt x="77" y="16"/>
                          <a:pt x="64" y="1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3" name="Freeform 1229"/>
                  <p:cNvSpPr>
                    <a:spLocks noEditPoints="1"/>
                  </p:cNvSpPr>
                  <p:nvPr/>
                </p:nvSpPr>
                <p:spPr bwMode="auto">
                  <a:xfrm>
                    <a:off x="645341" y="3529636"/>
                    <a:ext cx="71438" cy="68263"/>
                  </a:xfrm>
                  <a:custGeom>
                    <a:avLst/>
                    <a:gdLst>
                      <a:gd name="T0" fmla="*/ 44 w 85"/>
                      <a:gd name="T1" fmla="*/ 82 h 82"/>
                      <a:gd name="T2" fmla="*/ 16 w 85"/>
                      <a:gd name="T3" fmla="*/ 70 h 82"/>
                      <a:gd name="T4" fmla="*/ 16 w 85"/>
                      <a:gd name="T5" fmla="*/ 12 h 82"/>
                      <a:gd name="T6" fmla="*/ 44 w 85"/>
                      <a:gd name="T7" fmla="*/ 0 h 82"/>
                      <a:gd name="T8" fmla="*/ 73 w 85"/>
                      <a:gd name="T9" fmla="*/ 12 h 82"/>
                      <a:gd name="T10" fmla="*/ 85 w 85"/>
                      <a:gd name="T11" fmla="*/ 41 h 82"/>
                      <a:gd name="T12" fmla="*/ 73 w 85"/>
                      <a:gd name="T13" fmla="*/ 70 h 82"/>
                      <a:gd name="T14" fmla="*/ 44 w 85"/>
                      <a:gd name="T15" fmla="*/ 82 h 82"/>
                      <a:gd name="T16" fmla="*/ 44 w 85"/>
                      <a:gd name="T17" fmla="*/ 16 h 82"/>
                      <a:gd name="T18" fmla="*/ 26 w 85"/>
                      <a:gd name="T19" fmla="*/ 23 h 82"/>
                      <a:gd name="T20" fmla="*/ 26 w 85"/>
                      <a:gd name="T21" fmla="*/ 59 h 82"/>
                      <a:gd name="T22" fmla="*/ 44 w 85"/>
                      <a:gd name="T23" fmla="*/ 66 h 82"/>
                      <a:gd name="T24" fmla="*/ 62 w 85"/>
                      <a:gd name="T25" fmla="*/ 59 h 82"/>
                      <a:gd name="T26" fmla="*/ 69 w 85"/>
                      <a:gd name="T27" fmla="*/ 41 h 82"/>
                      <a:gd name="T28" fmla="*/ 62 w 85"/>
                      <a:gd name="T29" fmla="*/ 23 h 82"/>
                      <a:gd name="T30" fmla="*/ 44 w 85"/>
                      <a:gd name="T31" fmla="*/ 16 h 8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</a:cxnLst>
                    <a:rect l="0" t="0" r="r" b="b"/>
                    <a:pathLst>
                      <a:path w="85" h="82">
                        <a:moveTo>
                          <a:pt x="44" y="82"/>
                        </a:moveTo>
                        <a:cubicBezTo>
                          <a:pt x="33" y="82"/>
                          <a:pt x="23" y="77"/>
                          <a:pt x="16" y="70"/>
                        </a:cubicBezTo>
                        <a:cubicBezTo>
                          <a:pt x="0" y="54"/>
                          <a:pt x="0" y="28"/>
                          <a:pt x="16" y="12"/>
                        </a:cubicBezTo>
                        <a:cubicBezTo>
                          <a:pt x="23" y="5"/>
                          <a:pt x="33" y="0"/>
                          <a:pt x="44" y="0"/>
                        </a:cubicBezTo>
                        <a:cubicBezTo>
                          <a:pt x="55" y="0"/>
                          <a:pt x="65" y="5"/>
                          <a:pt x="73" y="12"/>
                        </a:cubicBezTo>
                        <a:cubicBezTo>
                          <a:pt x="81" y="20"/>
                          <a:pt x="85" y="30"/>
                          <a:pt x="85" y="41"/>
                        </a:cubicBezTo>
                        <a:cubicBezTo>
                          <a:pt x="85" y="52"/>
                          <a:pt x="81" y="62"/>
                          <a:pt x="73" y="70"/>
                        </a:cubicBezTo>
                        <a:cubicBezTo>
                          <a:pt x="65" y="77"/>
                          <a:pt x="55" y="82"/>
                          <a:pt x="44" y="82"/>
                        </a:cubicBezTo>
                        <a:close/>
                        <a:moveTo>
                          <a:pt x="44" y="16"/>
                        </a:moveTo>
                        <a:cubicBezTo>
                          <a:pt x="38" y="16"/>
                          <a:pt x="31" y="19"/>
                          <a:pt x="26" y="23"/>
                        </a:cubicBezTo>
                        <a:cubicBezTo>
                          <a:pt x="17" y="33"/>
                          <a:pt x="17" y="49"/>
                          <a:pt x="26" y="59"/>
                        </a:cubicBezTo>
                        <a:cubicBezTo>
                          <a:pt x="31" y="63"/>
                          <a:pt x="38" y="66"/>
                          <a:pt x="44" y="66"/>
                        </a:cubicBezTo>
                        <a:cubicBezTo>
                          <a:pt x="51" y="66"/>
                          <a:pt x="57" y="63"/>
                          <a:pt x="62" y="59"/>
                        </a:cubicBezTo>
                        <a:cubicBezTo>
                          <a:pt x="67" y="54"/>
                          <a:pt x="69" y="48"/>
                          <a:pt x="69" y="41"/>
                        </a:cubicBezTo>
                        <a:cubicBezTo>
                          <a:pt x="69" y="34"/>
                          <a:pt x="67" y="28"/>
                          <a:pt x="62" y="23"/>
                        </a:cubicBezTo>
                        <a:cubicBezTo>
                          <a:pt x="57" y="19"/>
                          <a:pt x="51" y="16"/>
                          <a:pt x="44" y="16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4" name="Freeform 1230"/>
                  <p:cNvSpPr>
                    <a:spLocks/>
                  </p:cNvSpPr>
                  <p:nvPr/>
                </p:nvSpPr>
                <p:spPr bwMode="auto">
                  <a:xfrm>
                    <a:off x="689791" y="3361361"/>
                    <a:ext cx="52388" cy="50800"/>
                  </a:xfrm>
                  <a:custGeom>
                    <a:avLst/>
                    <a:gdLst>
                      <a:gd name="T0" fmla="*/ 27 w 33"/>
                      <a:gd name="T1" fmla="*/ 32 h 32"/>
                      <a:gd name="T2" fmla="*/ 0 w 33"/>
                      <a:gd name="T3" fmla="*/ 5 h 32"/>
                      <a:gd name="T4" fmla="*/ 6 w 33"/>
                      <a:gd name="T5" fmla="*/ 0 h 32"/>
                      <a:gd name="T6" fmla="*/ 33 w 33"/>
                      <a:gd name="T7" fmla="*/ 26 h 32"/>
                      <a:gd name="T8" fmla="*/ 27 w 33"/>
                      <a:gd name="T9" fmla="*/ 32 h 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33" h="32">
                        <a:moveTo>
                          <a:pt x="27" y="32"/>
                        </a:moveTo>
                        <a:lnTo>
                          <a:pt x="0" y="5"/>
                        </a:lnTo>
                        <a:lnTo>
                          <a:pt x="6" y="0"/>
                        </a:lnTo>
                        <a:lnTo>
                          <a:pt x="33" y="26"/>
                        </a:lnTo>
                        <a:lnTo>
                          <a:pt x="27" y="3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5" name="Freeform 1231"/>
                  <p:cNvSpPr>
                    <a:spLocks/>
                  </p:cNvSpPr>
                  <p:nvPr/>
                </p:nvSpPr>
                <p:spPr bwMode="auto">
                  <a:xfrm>
                    <a:off x="643754" y="3348661"/>
                    <a:ext cx="82550" cy="80963"/>
                  </a:xfrm>
                  <a:custGeom>
                    <a:avLst/>
                    <a:gdLst>
                      <a:gd name="T0" fmla="*/ 46 w 52"/>
                      <a:gd name="T1" fmla="*/ 51 h 51"/>
                      <a:gd name="T2" fmla="*/ 0 w 52"/>
                      <a:gd name="T3" fmla="*/ 5 h 51"/>
                      <a:gd name="T4" fmla="*/ 6 w 52"/>
                      <a:gd name="T5" fmla="*/ 0 h 51"/>
                      <a:gd name="T6" fmla="*/ 52 w 52"/>
                      <a:gd name="T7" fmla="*/ 45 h 51"/>
                      <a:gd name="T8" fmla="*/ 46 w 52"/>
                      <a:gd name="T9" fmla="*/ 51 h 5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</a:cxnLst>
                    <a:rect l="0" t="0" r="r" b="b"/>
                    <a:pathLst>
                      <a:path w="52" h="51">
                        <a:moveTo>
                          <a:pt x="46" y="51"/>
                        </a:moveTo>
                        <a:lnTo>
                          <a:pt x="0" y="5"/>
                        </a:lnTo>
                        <a:lnTo>
                          <a:pt x="6" y="0"/>
                        </a:lnTo>
                        <a:lnTo>
                          <a:pt x="52" y="45"/>
                        </a:lnTo>
                        <a:lnTo>
                          <a:pt x="46" y="51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6" name="Freeform 1232"/>
                  <p:cNvSpPr>
                    <a:spLocks/>
                  </p:cNvSpPr>
                  <p:nvPr/>
                </p:nvSpPr>
                <p:spPr bwMode="auto">
                  <a:xfrm>
                    <a:off x="732654" y="3437561"/>
                    <a:ext cx="182563" cy="158750"/>
                  </a:xfrm>
                  <a:custGeom>
                    <a:avLst/>
                    <a:gdLst>
                      <a:gd name="T0" fmla="*/ 167 w 218"/>
                      <a:gd name="T1" fmla="*/ 191 h 191"/>
                      <a:gd name="T2" fmla="*/ 121 w 218"/>
                      <a:gd name="T3" fmla="*/ 172 h 191"/>
                      <a:gd name="T4" fmla="*/ 0 w 218"/>
                      <a:gd name="T5" fmla="*/ 51 h 191"/>
                      <a:gd name="T6" fmla="*/ 11 w 218"/>
                      <a:gd name="T7" fmla="*/ 40 h 191"/>
                      <a:gd name="T8" fmla="*/ 132 w 218"/>
                      <a:gd name="T9" fmla="*/ 161 h 191"/>
                      <a:gd name="T10" fmla="*/ 167 w 218"/>
                      <a:gd name="T11" fmla="*/ 175 h 191"/>
                      <a:gd name="T12" fmla="*/ 195 w 218"/>
                      <a:gd name="T13" fmla="*/ 166 h 191"/>
                      <a:gd name="T14" fmla="*/ 40 w 218"/>
                      <a:gd name="T15" fmla="*/ 11 h 191"/>
                      <a:gd name="T16" fmla="*/ 51 w 218"/>
                      <a:gd name="T17" fmla="*/ 0 h 191"/>
                      <a:gd name="T18" fmla="*/ 218 w 218"/>
                      <a:gd name="T19" fmla="*/ 166 h 191"/>
                      <a:gd name="T20" fmla="*/ 212 w 218"/>
                      <a:gd name="T21" fmla="*/ 172 h 191"/>
                      <a:gd name="T22" fmla="*/ 167 w 218"/>
                      <a:gd name="T23" fmla="*/ 191 h 19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218" h="191">
                        <a:moveTo>
                          <a:pt x="167" y="191"/>
                        </a:moveTo>
                        <a:cubicBezTo>
                          <a:pt x="149" y="191"/>
                          <a:pt x="133" y="184"/>
                          <a:pt x="121" y="172"/>
                        </a:cubicBezTo>
                        <a:cubicBezTo>
                          <a:pt x="0" y="51"/>
                          <a:pt x="0" y="51"/>
                          <a:pt x="0" y="51"/>
                        </a:cubicBezTo>
                        <a:cubicBezTo>
                          <a:pt x="11" y="40"/>
                          <a:pt x="11" y="40"/>
                          <a:pt x="11" y="40"/>
                        </a:cubicBezTo>
                        <a:cubicBezTo>
                          <a:pt x="132" y="161"/>
                          <a:pt x="132" y="161"/>
                          <a:pt x="132" y="161"/>
                        </a:cubicBezTo>
                        <a:cubicBezTo>
                          <a:pt x="141" y="170"/>
                          <a:pt x="153" y="175"/>
                          <a:pt x="167" y="175"/>
                        </a:cubicBezTo>
                        <a:cubicBezTo>
                          <a:pt x="177" y="175"/>
                          <a:pt x="187" y="172"/>
                          <a:pt x="195" y="166"/>
                        </a:cubicBezTo>
                        <a:cubicBezTo>
                          <a:pt x="40" y="11"/>
                          <a:pt x="40" y="11"/>
                          <a:pt x="40" y="11"/>
                        </a:cubicBezTo>
                        <a:cubicBezTo>
                          <a:pt x="51" y="0"/>
                          <a:pt x="51" y="0"/>
                          <a:pt x="51" y="0"/>
                        </a:cubicBezTo>
                        <a:cubicBezTo>
                          <a:pt x="218" y="166"/>
                          <a:pt x="218" y="166"/>
                          <a:pt x="218" y="166"/>
                        </a:cubicBezTo>
                        <a:cubicBezTo>
                          <a:pt x="212" y="172"/>
                          <a:pt x="212" y="172"/>
                          <a:pt x="212" y="172"/>
                        </a:cubicBezTo>
                        <a:cubicBezTo>
                          <a:pt x="200" y="184"/>
                          <a:pt x="184" y="191"/>
                          <a:pt x="167" y="191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7" name="Freeform 1233"/>
                  <p:cNvSpPr>
                    <a:spLocks noEditPoints="1"/>
                  </p:cNvSpPr>
                  <p:nvPr/>
                </p:nvSpPr>
                <p:spPr bwMode="auto">
                  <a:xfrm>
                    <a:off x="623116" y="3266111"/>
                    <a:ext cx="119063" cy="106363"/>
                  </a:xfrm>
                  <a:custGeom>
                    <a:avLst/>
                    <a:gdLst>
                      <a:gd name="T0" fmla="*/ 71 w 142"/>
                      <a:gd name="T1" fmla="*/ 129 h 129"/>
                      <a:gd name="T2" fmla="*/ 25 w 142"/>
                      <a:gd name="T3" fmla="*/ 110 h 129"/>
                      <a:gd name="T4" fmla="*/ 25 w 142"/>
                      <a:gd name="T5" fmla="*/ 19 h 129"/>
                      <a:gd name="T6" fmla="*/ 71 w 142"/>
                      <a:gd name="T7" fmla="*/ 0 h 129"/>
                      <a:gd name="T8" fmla="*/ 117 w 142"/>
                      <a:gd name="T9" fmla="*/ 19 h 129"/>
                      <a:gd name="T10" fmla="*/ 117 w 142"/>
                      <a:gd name="T11" fmla="*/ 110 h 129"/>
                      <a:gd name="T12" fmla="*/ 71 w 142"/>
                      <a:gd name="T13" fmla="*/ 129 h 129"/>
                      <a:gd name="T14" fmla="*/ 71 w 142"/>
                      <a:gd name="T15" fmla="*/ 15 h 129"/>
                      <a:gd name="T16" fmla="*/ 36 w 142"/>
                      <a:gd name="T17" fmla="*/ 30 h 129"/>
                      <a:gd name="T18" fmla="*/ 36 w 142"/>
                      <a:gd name="T19" fmla="*/ 99 h 129"/>
                      <a:gd name="T20" fmla="*/ 71 w 142"/>
                      <a:gd name="T21" fmla="*/ 113 h 129"/>
                      <a:gd name="T22" fmla="*/ 106 w 142"/>
                      <a:gd name="T23" fmla="*/ 99 h 129"/>
                      <a:gd name="T24" fmla="*/ 106 w 142"/>
                      <a:gd name="T25" fmla="*/ 30 h 129"/>
                      <a:gd name="T26" fmla="*/ 71 w 142"/>
                      <a:gd name="T27" fmla="*/ 15 h 12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</a:cxnLst>
                    <a:rect l="0" t="0" r="r" b="b"/>
                    <a:pathLst>
                      <a:path w="142" h="129">
                        <a:moveTo>
                          <a:pt x="71" y="129"/>
                        </a:moveTo>
                        <a:cubicBezTo>
                          <a:pt x="54" y="129"/>
                          <a:pt x="38" y="122"/>
                          <a:pt x="25" y="110"/>
                        </a:cubicBezTo>
                        <a:cubicBezTo>
                          <a:pt x="0" y="85"/>
                          <a:pt x="0" y="44"/>
                          <a:pt x="25" y="19"/>
                        </a:cubicBezTo>
                        <a:cubicBezTo>
                          <a:pt x="38" y="6"/>
                          <a:pt x="54" y="0"/>
                          <a:pt x="71" y="0"/>
                        </a:cubicBezTo>
                        <a:cubicBezTo>
                          <a:pt x="88" y="0"/>
                          <a:pt x="105" y="6"/>
                          <a:pt x="117" y="19"/>
                        </a:cubicBezTo>
                        <a:cubicBezTo>
                          <a:pt x="142" y="44"/>
                          <a:pt x="142" y="85"/>
                          <a:pt x="117" y="110"/>
                        </a:cubicBezTo>
                        <a:cubicBezTo>
                          <a:pt x="105" y="122"/>
                          <a:pt x="88" y="129"/>
                          <a:pt x="71" y="129"/>
                        </a:cubicBezTo>
                        <a:close/>
                        <a:moveTo>
                          <a:pt x="71" y="15"/>
                        </a:moveTo>
                        <a:cubicBezTo>
                          <a:pt x="58" y="15"/>
                          <a:pt x="46" y="20"/>
                          <a:pt x="36" y="30"/>
                        </a:cubicBezTo>
                        <a:cubicBezTo>
                          <a:pt x="17" y="49"/>
                          <a:pt x="17" y="80"/>
                          <a:pt x="36" y="99"/>
                        </a:cubicBezTo>
                        <a:cubicBezTo>
                          <a:pt x="46" y="108"/>
                          <a:pt x="58" y="113"/>
                          <a:pt x="71" y="113"/>
                        </a:cubicBezTo>
                        <a:cubicBezTo>
                          <a:pt x="84" y="113"/>
                          <a:pt x="97" y="108"/>
                          <a:pt x="106" y="99"/>
                        </a:cubicBezTo>
                        <a:cubicBezTo>
                          <a:pt x="125" y="80"/>
                          <a:pt x="125" y="49"/>
                          <a:pt x="106" y="30"/>
                        </a:cubicBezTo>
                        <a:cubicBezTo>
                          <a:pt x="97" y="20"/>
                          <a:pt x="84" y="15"/>
                          <a:pt x="71" y="1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8" name="Freeform 1234"/>
                  <p:cNvSpPr>
                    <a:spLocks noEditPoints="1"/>
                  </p:cNvSpPr>
                  <p:nvPr/>
                </p:nvSpPr>
                <p:spPr bwMode="auto">
                  <a:xfrm>
                    <a:off x="648516" y="3285161"/>
                    <a:ext cx="68263" cy="68263"/>
                  </a:xfrm>
                  <a:custGeom>
                    <a:avLst/>
                    <a:gdLst>
                      <a:gd name="T0" fmla="*/ 40 w 81"/>
                      <a:gd name="T1" fmla="*/ 81 h 81"/>
                      <a:gd name="T2" fmla="*/ 12 w 81"/>
                      <a:gd name="T3" fmla="*/ 69 h 81"/>
                      <a:gd name="T4" fmla="*/ 0 w 81"/>
                      <a:gd name="T5" fmla="*/ 40 h 81"/>
                      <a:gd name="T6" fmla="*/ 12 w 81"/>
                      <a:gd name="T7" fmla="*/ 12 h 81"/>
                      <a:gd name="T8" fmla="*/ 40 w 81"/>
                      <a:gd name="T9" fmla="*/ 0 h 81"/>
                      <a:gd name="T10" fmla="*/ 69 w 81"/>
                      <a:gd name="T11" fmla="*/ 12 h 81"/>
                      <a:gd name="T12" fmla="*/ 81 w 81"/>
                      <a:gd name="T13" fmla="*/ 40 h 81"/>
                      <a:gd name="T14" fmla="*/ 69 w 81"/>
                      <a:gd name="T15" fmla="*/ 69 h 81"/>
                      <a:gd name="T16" fmla="*/ 40 w 81"/>
                      <a:gd name="T17" fmla="*/ 81 h 81"/>
                      <a:gd name="T18" fmla="*/ 40 w 81"/>
                      <a:gd name="T19" fmla="*/ 15 h 81"/>
                      <a:gd name="T20" fmla="*/ 22 w 81"/>
                      <a:gd name="T21" fmla="*/ 23 h 81"/>
                      <a:gd name="T22" fmla="*/ 15 w 81"/>
                      <a:gd name="T23" fmla="*/ 40 h 81"/>
                      <a:gd name="T24" fmla="*/ 22 w 81"/>
                      <a:gd name="T25" fmla="*/ 58 h 81"/>
                      <a:gd name="T26" fmla="*/ 40 w 81"/>
                      <a:gd name="T27" fmla="*/ 65 h 81"/>
                      <a:gd name="T28" fmla="*/ 58 w 81"/>
                      <a:gd name="T29" fmla="*/ 58 h 81"/>
                      <a:gd name="T30" fmla="*/ 65 w 81"/>
                      <a:gd name="T31" fmla="*/ 40 h 81"/>
                      <a:gd name="T32" fmla="*/ 58 w 81"/>
                      <a:gd name="T33" fmla="*/ 23 h 81"/>
                      <a:gd name="T34" fmla="*/ 40 w 81"/>
                      <a:gd name="T35" fmla="*/ 15 h 8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</a:cxnLst>
                    <a:rect l="0" t="0" r="r" b="b"/>
                    <a:pathLst>
                      <a:path w="81" h="81">
                        <a:moveTo>
                          <a:pt x="40" y="81"/>
                        </a:moveTo>
                        <a:cubicBezTo>
                          <a:pt x="29" y="81"/>
                          <a:pt x="19" y="77"/>
                          <a:pt x="12" y="69"/>
                        </a:cubicBezTo>
                        <a:cubicBezTo>
                          <a:pt x="4" y="61"/>
                          <a:pt x="0" y="51"/>
                          <a:pt x="0" y="40"/>
                        </a:cubicBezTo>
                        <a:cubicBezTo>
                          <a:pt x="0" y="29"/>
                          <a:pt x="4" y="19"/>
                          <a:pt x="12" y="12"/>
                        </a:cubicBezTo>
                        <a:cubicBezTo>
                          <a:pt x="19" y="4"/>
                          <a:pt x="29" y="0"/>
                          <a:pt x="40" y="0"/>
                        </a:cubicBezTo>
                        <a:cubicBezTo>
                          <a:pt x="51" y="0"/>
                          <a:pt x="61" y="4"/>
                          <a:pt x="69" y="12"/>
                        </a:cubicBezTo>
                        <a:cubicBezTo>
                          <a:pt x="77" y="19"/>
                          <a:pt x="81" y="29"/>
                          <a:pt x="81" y="40"/>
                        </a:cubicBezTo>
                        <a:cubicBezTo>
                          <a:pt x="81" y="51"/>
                          <a:pt x="77" y="61"/>
                          <a:pt x="69" y="69"/>
                        </a:cubicBezTo>
                        <a:cubicBezTo>
                          <a:pt x="61" y="77"/>
                          <a:pt x="51" y="81"/>
                          <a:pt x="40" y="81"/>
                        </a:cubicBezTo>
                        <a:close/>
                        <a:moveTo>
                          <a:pt x="40" y="15"/>
                        </a:moveTo>
                        <a:cubicBezTo>
                          <a:pt x="34" y="15"/>
                          <a:pt x="27" y="18"/>
                          <a:pt x="22" y="23"/>
                        </a:cubicBezTo>
                        <a:cubicBezTo>
                          <a:pt x="18" y="27"/>
                          <a:pt x="15" y="34"/>
                          <a:pt x="15" y="40"/>
                        </a:cubicBezTo>
                        <a:cubicBezTo>
                          <a:pt x="15" y="47"/>
                          <a:pt x="18" y="53"/>
                          <a:pt x="22" y="58"/>
                        </a:cubicBezTo>
                        <a:cubicBezTo>
                          <a:pt x="27" y="63"/>
                          <a:pt x="34" y="65"/>
                          <a:pt x="40" y="65"/>
                        </a:cubicBezTo>
                        <a:cubicBezTo>
                          <a:pt x="47" y="65"/>
                          <a:pt x="53" y="63"/>
                          <a:pt x="58" y="58"/>
                        </a:cubicBezTo>
                        <a:cubicBezTo>
                          <a:pt x="63" y="53"/>
                          <a:pt x="65" y="47"/>
                          <a:pt x="65" y="40"/>
                        </a:cubicBezTo>
                        <a:cubicBezTo>
                          <a:pt x="65" y="34"/>
                          <a:pt x="63" y="27"/>
                          <a:pt x="58" y="23"/>
                        </a:cubicBezTo>
                        <a:cubicBezTo>
                          <a:pt x="53" y="18"/>
                          <a:pt x="47" y="15"/>
                          <a:pt x="40" y="15"/>
                        </a:cubicBez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59" name="Oval 1235"/>
                  <p:cNvSpPr>
                    <a:spLocks noChangeArrowheads="1"/>
                  </p:cNvSpPr>
                  <p:nvPr/>
                </p:nvSpPr>
                <p:spPr bwMode="auto">
                  <a:xfrm>
                    <a:off x="739004" y="3426448"/>
                    <a:ext cx="14288" cy="14288"/>
                  </a:xfrm>
                  <a:prstGeom prst="ellipse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  <p:sp>
                <p:nvSpPr>
                  <p:cNvPr id="60" name="Freeform 1236"/>
                  <p:cNvSpPr>
                    <a:spLocks noEditPoints="1"/>
                  </p:cNvSpPr>
                  <p:nvPr/>
                </p:nvSpPr>
                <p:spPr bwMode="auto">
                  <a:xfrm>
                    <a:off x="805679" y="3224836"/>
                    <a:ext cx="55563" cy="223838"/>
                  </a:xfrm>
                  <a:custGeom>
                    <a:avLst/>
                    <a:gdLst>
                      <a:gd name="T0" fmla="*/ 35 w 35"/>
                      <a:gd name="T1" fmla="*/ 141 h 141"/>
                      <a:gd name="T2" fmla="*/ 0 w 35"/>
                      <a:gd name="T3" fmla="*/ 141 h 141"/>
                      <a:gd name="T4" fmla="*/ 0 w 35"/>
                      <a:gd name="T5" fmla="*/ 0 h 141"/>
                      <a:gd name="T6" fmla="*/ 17 w 35"/>
                      <a:gd name="T7" fmla="*/ 17 h 141"/>
                      <a:gd name="T8" fmla="*/ 35 w 35"/>
                      <a:gd name="T9" fmla="*/ 0 h 141"/>
                      <a:gd name="T10" fmla="*/ 35 w 35"/>
                      <a:gd name="T11" fmla="*/ 141 h 141"/>
                      <a:gd name="T12" fmla="*/ 8 w 35"/>
                      <a:gd name="T13" fmla="*/ 132 h 141"/>
                      <a:gd name="T14" fmla="*/ 26 w 35"/>
                      <a:gd name="T15" fmla="*/ 132 h 141"/>
                      <a:gd name="T16" fmla="*/ 26 w 35"/>
                      <a:gd name="T17" fmla="*/ 19 h 141"/>
                      <a:gd name="T18" fmla="*/ 17 w 35"/>
                      <a:gd name="T19" fmla="*/ 29 h 141"/>
                      <a:gd name="T20" fmla="*/ 8 w 35"/>
                      <a:gd name="T21" fmla="*/ 19 h 141"/>
                      <a:gd name="T22" fmla="*/ 8 w 35"/>
                      <a:gd name="T23" fmla="*/ 132 h 141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</a:cxnLst>
                    <a:rect l="0" t="0" r="r" b="b"/>
                    <a:pathLst>
                      <a:path w="35" h="141">
                        <a:moveTo>
                          <a:pt x="35" y="141"/>
                        </a:moveTo>
                        <a:lnTo>
                          <a:pt x="0" y="141"/>
                        </a:lnTo>
                        <a:lnTo>
                          <a:pt x="0" y="0"/>
                        </a:lnTo>
                        <a:lnTo>
                          <a:pt x="17" y="17"/>
                        </a:lnTo>
                        <a:lnTo>
                          <a:pt x="35" y="0"/>
                        </a:lnTo>
                        <a:lnTo>
                          <a:pt x="35" y="141"/>
                        </a:lnTo>
                        <a:close/>
                        <a:moveTo>
                          <a:pt x="8" y="132"/>
                        </a:moveTo>
                        <a:lnTo>
                          <a:pt x="26" y="132"/>
                        </a:lnTo>
                        <a:lnTo>
                          <a:pt x="26" y="19"/>
                        </a:lnTo>
                        <a:lnTo>
                          <a:pt x="17" y="29"/>
                        </a:lnTo>
                        <a:lnTo>
                          <a:pt x="8" y="19"/>
                        </a:lnTo>
                        <a:lnTo>
                          <a:pt x="8" y="132"/>
                        </a:lnTo>
                        <a:close/>
                      </a:path>
                    </a:pathLst>
                  </a:cu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68580" tIns="34290" rIns="68580" bIns="3429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endParaRPr lang="ru-RU" sz="800"/>
                  </a:p>
                </p:txBody>
              </p:sp>
            </p:grpSp>
            <p:sp>
              <p:nvSpPr>
                <p:cNvPr id="46" name="Прямоугольник 45"/>
                <p:cNvSpPr>
                  <a:spLocks noChangeAspect="1"/>
                </p:cNvSpPr>
                <p:nvPr/>
              </p:nvSpPr>
              <p:spPr bwMode="auto">
                <a:xfrm>
                  <a:off x="368192" y="3661544"/>
                  <a:ext cx="360000" cy="360000"/>
                </a:xfrm>
                <a:prstGeom prst="rect">
                  <a:avLst/>
                </a:prstGeom>
                <a:noFill/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91440" tIns="45720" rIns="91440" bIns="45720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indent="0" algn="l" defTabSz="914400" rtl="0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</a:pPr>
                  <a:endParaRPr kumimoji="0" lang="en-US" sz="1600" b="1" i="0" u="none" strike="noStrike" cap="none" normalizeH="0" baseline="0">
                    <a:ln>
                      <a:noFill/>
                    </a:ln>
                    <a:solidFill>
                      <a:schemeClr val="tx1"/>
                    </a:solidFill>
                    <a:effectLst/>
                    <a:latin typeface="Arial" charset="0"/>
                  </a:endParaRPr>
                </a:p>
              </p:txBody>
            </p:sp>
          </p:grpSp>
        </p:grpSp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id="{751B9CB7-033F-E745-840E-2A0480641740}"/>
                </a:ext>
              </a:extLst>
            </p:cNvPr>
            <p:cNvGrpSpPr/>
            <p:nvPr/>
          </p:nvGrpSpPr>
          <p:grpSpPr>
            <a:xfrm>
              <a:off x="239655" y="2889086"/>
              <a:ext cx="2772404" cy="591510"/>
              <a:chOff x="239655" y="2889086"/>
              <a:chExt cx="2772404" cy="591510"/>
            </a:xfrm>
          </p:grpSpPr>
          <p:sp>
            <p:nvSpPr>
              <p:cNvPr id="41" name="Овал 40"/>
              <p:cNvSpPr/>
              <p:nvPr/>
            </p:nvSpPr>
            <p:spPr bwMode="auto">
              <a:xfrm>
                <a:off x="283743" y="2940596"/>
                <a:ext cx="540000" cy="540000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42" name="Прямоугольник 14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976143" y="2889086"/>
                <a:ext cx="2035916" cy="5915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680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r>
                  <a:rPr lang="ru-RU" sz="2000" b="1" dirty="0">
                    <a:solidFill>
                      <a:schemeClr val="accent3"/>
                    </a:solidFill>
                  </a:rPr>
                  <a:t>45 694</a:t>
                </a:r>
                <a:r>
                  <a:rPr lang="ru-RU" sz="1100" b="1" dirty="0">
                    <a:solidFill>
                      <a:schemeClr val="accent3"/>
                    </a:solidFill>
                  </a:rPr>
                  <a:t> чел.</a:t>
                </a:r>
                <a:br>
                  <a:rPr lang="ru-RU" sz="1100" b="1" dirty="0">
                    <a:solidFill>
                      <a:schemeClr val="accent3"/>
                    </a:solidFill>
                  </a:rPr>
                </a:br>
                <a:r>
                  <a:rPr lang="ru-RU" sz="1100" dirty="0">
                    <a:solidFill>
                      <a:schemeClr val="accent3"/>
                    </a:solidFill>
                  </a:rPr>
                  <a:t>Пассажиропоток в 2023 году</a:t>
                </a:r>
              </a:p>
            </p:txBody>
          </p:sp>
          <p:sp>
            <p:nvSpPr>
              <p:cNvPr id="64" name="Oval 3">
                <a:extLst>
                  <a:ext uri="{FF2B5EF4-FFF2-40B4-BE49-F238E27FC236}">
                    <a16:creationId xmlns:a16="http://schemas.microsoft.com/office/drawing/2014/main" id="{966E56BC-B2A8-044C-A231-D0FACEF8F458}"/>
                  </a:ext>
                </a:extLst>
              </p:cNvPr>
              <p:cNvSpPr/>
              <p:nvPr/>
            </p:nvSpPr>
            <p:spPr bwMode="auto">
              <a:xfrm>
                <a:off x="239655" y="2942101"/>
                <a:ext cx="358971" cy="392118"/>
              </a:xfrm>
              <a:custGeom>
                <a:avLst/>
                <a:gdLst/>
                <a:ahLst/>
                <a:cxnLst/>
                <a:rect l="l" t="t" r="r" b="b"/>
                <a:pathLst>
                  <a:path w="2546577" h="2925548">
                    <a:moveTo>
                      <a:pt x="307420" y="2749602"/>
                    </a:moveTo>
                    <a:lnTo>
                      <a:pt x="276264" y="2756280"/>
                    </a:lnTo>
                    <a:cubicBezTo>
                      <a:pt x="261009" y="2764368"/>
                      <a:pt x="251084" y="2780547"/>
                      <a:pt x="251084" y="2799045"/>
                    </a:cubicBezTo>
                    <a:cubicBezTo>
                      <a:pt x="251084" y="2826990"/>
                      <a:pt x="273738" y="2849646"/>
                      <a:pt x="301685" y="2849646"/>
                    </a:cubicBezTo>
                    <a:cubicBezTo>
                      <a:pt x="329630" y="2849646"/>
                      <a:pt x="352286" y="2826991"/>
                      <a:pt x="352285" y="2799045"/>
                    </a:cubicBezTo>
                    <a:cubicBezTo>
                      <a:pt x="352285" y="2773071"/>
                      <a:pt x="332715" y="2751667"/>
                      <a:pt x="307420" y="2749602"/>
                    </a:cubicBezTo>
                    <a:close/>
                    <a:moveTo>
                      <a:pt x="1589972" y="679027"/>
                    </a:moveTo>
                    <a:cubicBezTo>
                      <a:pt x="1625215" y="679027"/>
                      <a:pt x="1659016" y="684486"/>
                      <a:pt x="1690041" y="695456"/>
                    </a:cubicBezTo>
                    <a:lnTo>
                      <a:pt x="1691910" y="695515"/>
                    </a:lnTo>
                    <a:lnTo>
                      <a:pt x="1692539" y="696140"/>
                    </a:lnTo>
                    <a:cubicBezTo>
                      <a:pt x="1746418" y="710453"/>
                      <a:pt x="1758631" y="729159"/>
                      <a:pt x="1829438" y="781391"/>
                    </a:cubicBezTo>
                    <a:cubicBezTo>
                      <a:pt x="1900246" y="833623"/>
                      <a:pt x="2014804" y="950269"/>
                      <a:pt x="2117388" y="1009531"/>
                    </a:cubicBezTo>
                    <a:cubicBezTo>
                      <a:pt x="2219972" y="1068794"/>
                      <a:pt x="2271644" y="1119039"/>
                      <a:pt x="2444945" y="1136963"/>
                    </a:cubicBezTo>
                    <a:cubicBezTo>
                      <a:pt x="2529287" y="1145685"/>
                      <a:pt x="2557647" y="1219640"/>
                      <a:pt x="2542824" y="1288520"/>
                    </a:cubicBezTo>
                    <a:lnTo>
                      <a:pt x="2542823" y="1288519"/>
                    </a:lnTo>
                    <a:cubicBezTo>
                      <a:pt x="2528001" y="1357399"/>
                      <a:pt x="2460146" y="1401222"/>
                      <a:pt x="2391266" y="1386399"/>
                    </a:cubicBezTo>
                    <a:cubicBezTo>
                      <a:pt x="2205180" y="1357482"/>
                      <a:pt x="2050195" y="1314960"/>
                      <a:pt x="1916252" y="1195069"/>
                    </a:cubicBezTo>
                    <a:lnTo>
                      <a:pt x="1946703" y="1638304"/>
                    </a:lnTo>
                    <a:cubicBezTo>
                      <a:pt x="1950357" y="1691505"/>
                      <a:pt x="1935150" y="1741645"/>
                      <a:pt x="1905953" y="1781598"/>
                    </a:cubicBezTo>
                    <a:cubicBezTo>
                      <a:pt x="1908008" y="1782924"/>
                      <a:pt x="1909002" y="1784839"/>
                      <a:pt x="1909961" y="1786782"/>
                    </a:cubicBezTo>
                    <a:lnTo>
                      <a:pt x="2150722" y="2250165"/>
                    </a:lnTo>
                    <a:lnTo>
                      <a:pt x="2355582" y="2688913"/>
                    </a:lnTo>
                    <a:cubicBezTo>
                      <a:pt x="2394894" y="2768498"/>
                      <a:pt x="2362246" y="2864882"/>
                      <a:pt x="2282661" y="2904194"/>
                    </a:cubicBezTo>
                    <a:cubicBezTo>
                      <a:pt x="2203078" y="2943506"/>
                      <a:pt x="2106692" y="2910859"/>
                      <a:pt x="2067381" y="2831274"/>
                    </a:cubicBezTo>
                    <a:cubicBezTo>
                      <a:pt x="1999912" y="2695515"/>
                      <a:pt x="1939586" y="2559755"/>
                      <a:pt x="1872116" y="2423995"/>
                    </a:cubicBezTo>
                    <a:cubicBezTo>
                      <a:pt x="1803529" y="2284442"/>
                      <a:pt x="1729827" y="2144891"/>
                      <a:pt x="1660179" y="2005081"/>
                    </a:cubicBezTo>
                    <a:lnTo>
                      <a:pt x="1211589" y="2842208"/>
                    </a:lnTo>
                    <a:cubicBezTo>
                      <a:pt x="1170405" y="2919064"/>
                      <a:pt x="1074714" y="2947981"/>
                      <a:pt x="997860" y="2906796"/>
                    </a:cubicBezTo>
                    <a:cubicBezTo>
                      <a:pt x="921005" y="2865612"/>
                      <a:pt x="892088" y="2769922"/>
                      <a:pt x="933272" y="2693067"/>
                    </a:cubicBezTo>
                    <a:lnTo>
                      <a:pt x="1404454" y="1813777"/>
                    </a:lnTo>
                    <a:cubicBezTo>
                      <a:pt x="1368680" y="1779906"/>
                      <a:pt x="1347027" y="1732598"/>
                      <a:pt x="1343397" y="1679753"/>
                    </a:cubicBezTo>
                    <a:lnTo>
                      <a:pt x="1311921" y="1221595"/>
                    </a:lnTo>
                    <a:cubicBezTo>
                      <a:pt x="1273156" y="1271929"/>
                      <a:pt x="1236683" y="1320419"/>
                      <a:pt x="1212512" y="1359577"/>
                    </a:cubicBezTo>
                    <a:cubicBezTo>
                      <a:pt x="1144811" y="1469248"/>
                      <a:pt x="1116341" y="1562524"/>
                      <a:pt x="1076279" y="1631425"/>
                    </a:cubicBezTo>
                    <a:cubicBezTo>
                      <a:pt x="1055849" y="1666562"/>
                      <a:pt x="1022778" y="1686838"/>
                      <a:pt x="986950" y="1690188"/>
                    </a:cubicBezTo>
                    <a:lnTo>
                      <a:pt x="553230" y="2455307"/>
                    </a:lnTo>
                    <a:lnTo>
                      <a:pt x="552999" y="2455487"/>
                    </a:lnTo>
                    <a:lnTo>
                      <a:pt x="400013" y="2725370"/>
                    </a:lnTo>
                    <a:cubicBezTo>
                      <a:pt x="417413" y="2744963"/>
                      <a:pt x="426701" y="2770919"/>
                      <a:pt x="426701" y="2799045"/>
                    </a:cubicBezTo>
                    <a:cubicBezTo>
                      <a:pt x="426701" y="2868089"/>
                      <a:pt x="370729" y="2924061"/>
                      <a:pt x="301686" y="2924061"/>
                    </a:cubicBezTo>
                    <a:cubicBezTo>
                      <a:pt x="232641" y="2924061"/>
                      <a:pt x="176670" y="2868089"/>
                      <a:pt x="176669" y="2799045"/>
                    </a:cubicBezTo>
                    <a:cubicBezTo>
                      <a:pt x="176670" y="2775823"/>
                      <a:pt x="183001" y="2754080"/>
                      <a:pt x="195841" y="2736519"/>
                    </a:cubicBezTo>
                    <a:lnTo>
                      <a:pt x="28216" y="2641498"/>
                    </a:lnTo>
                    <a:cubicBezTo>
                      <a:pt x="1478" y="2626342"/>
                      <a:pt x="-7910" y="2592379"/>
                      <a:pt x="7247" y="2565641"/>
                    </a:cubicBezTo>
                    <a:lnTo>
                      <a:pt x="420263" y="1837044"/>
                    </a:lnTo>
                    <a:cubicBezTo>
                      <a:pt x="431630" y="1816991"/>
                      <a:pt x="453576" y="1806695"/>
                      <a:pt x="475119" y="1809196"/>
                    </a:cubicBezTo>
                    <a:cubicBezTo>
                      <a:pt x="482300" y="1810030"/>
                      <a:pt x="489436" y="1812285"/>
                      <a:pt x="496120" y="1816074"/>
                    </a:cubicBezTo>
                    <a:lnTo>
                      <a:pt x="711914" y="1938400"/>
                    </a:lnTo>
                    <a:lnTo>
                      <a:pt x="875664" y="1649531"/>
                    </a:lnTo>
                    <a:cubicBezTo>
                      <a:pt x="836073" y="1610038"/>
                      <a:pt x="828385" y="1547269"/>
                      <a:pt x="859167" y="1497402"/>
                    </a:cubicBezTo>
                    <a:cubicBezTo>
                      <a:pt x="905510" y="1397485"/>
                      <a:pt x="941612" y="1316452"/>
                      <a:pt x="1017250" y="1204796"/>
                    </a:cubicBezTo>
                    <a:cubicBezTo>
                      <a:pt x="1092887" y="1093140"/>
                      <a:pt x="1209648" y="937367"/>
                      <a:pt x="1312991" y="827465"/>
                    </a:cubicBezTo>
                    <a:cubicBezTo>
                      <a:pt x="1346586" y="786676"/>
                      <a:pt x="1384943" y="760174"/>
                      <a:pt x="1420919" y="726528"/>
                    </a:cubicBezTo>
                    <a:cubicBezTo>
                      <a:pt x="1468610" y="696462"/>
                      <a:pt x="1526984" y="679026"/>
                      <a:pt x="1589972" y="679027"/>
                    </a:cubicBezTo>
                    <a:close/>
                    <a:moveTo>
                      <a:pt x="1614284" y="0"/>
                    </a:moveTo>
                    <a:cubicBezTo>
                      <a:pt x="1797451" y="0"/>
                      <a:pt x="1945938" y="148487"/>
                      <a:pt x="1945938" y="331654"/>
                    </a:cubicBezTo>
                    <a:cubicBezTo>
                      <a:pt x="1945938" y="514821"/>
                      <a:pt x="1797451" y="663308"/>
                      <a:pt x="1614284" y="663308"/>
                    </a:cubicBezTo>
                    <a:cubicBezTo>
                      <a:pt x="1431117" y="663308"/>
                      <a:pt x="1282630" y="514821"/>
                      <a:pt x="1282630" y="331654"/>
                    </a:cubicBezTo>
                    <a:cubicBezTo>
                      <a:pt x="1282630" y="148487"/>
                      <a:pt x="1431117" y="0"/>
                      <a:pt x="1614284" y="0"/>
                    </a:cubicBezTo>
                    <a:close/>
                  </a:path>
                </a:pathLst>
              </a:custGeom>
              <a:noFill/>
              <a:ln w="12700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C8DD8912-29B8-B842-AB67-C25F455F095E}"/>
                </a:ext>
              </a:extLst>
            </p:cNvPr>
            <p:cNvGrpSpPr/>
            <p:nvPr/>
          </p:nvGrpSpPr>
          <p:grpSpPr>
            <a:xfrm>
              <a:off x="280047" y="3804930"/>
              <a:ext cx="2530060" cy="593750"/>
              <a:chOff x="280047" y="3804930"/>
              <a:chExt cx="2530060" cy="593750"/>
            </a:xfrm>
          </p:grpSpPr>
          <p:sp>
            <p:nvSpPr>
              <p:cNvPr id="10" name="Прямоугольник 14"/>
              <p:cNvSpPr/>
              <p:nvPr>
                <p:custDataLst>
                  <p:tags r:id="rId5"/>
                </p:custDataLst>
              </p:nvPr>
            </p:nvSpPr>
            <p:spPr bwMode="auto">
              <a:xfrm>
                <a:off x="976143" y="3807170"/>
                <a:ext cx="1833964" cy="5915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680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r>
                  <a:rPr lang="ru-RU" sz="2000" b="1" dirty="0">
                    <a:solidFill>
                      <a:schemeClr val="accent3"/>
                    </a:solidFill>
                  </a:rPr>
                  <a:t>5914</a:t>
                </a:r>
                <a:r>
                  <a:rPr lang="ru-RU" sz="1100" b="1" dirty="0">
                    <a:solidFill>
                      <a:schemeClr val="accent3"/>
                    </a:solidFill>
                  </a:rPr>
                  <a:t> кв.м.</a:t>
                </a:r>
                <a:br>
                  <a:rPr lang="en-US" sz="1100" b="1" dirty="0">
                    <a:solidFill>
                      <a:schemeClr val="accent3"/>
                    </a:solidFill>
                  </a:rPr>
                </a:br>
                <a:r>
                  <a:rPr lang="ru-RU" sz="1100" dirty="0">
                    <a:solidFill>
                      <a:schemeClr val="accent3"/>
                    </a:solidFill>
                  </a:rPr>
                  <a:t>Площадь терминала (вкл. административные помещения) </a:t>
                </a:r>
              </a:p>
            </p:txBody>
          </p:sp>
          <p:sp>
            <p:nvSpPr>
              <p:cNvPr id="65" name="Овал 64">
                <a:extLst>
                  <a:ext uri="{FF2B5EF4-FFF2-40B4-BE49-F238E27FC236}">
                    <a16:creationId xmlns:a16="http://schemas.microsoft.com/office/drawing/2014/main" id="{CDD9043D-CB7A-9744-9F3F-A6053E9899B7}"/>
                  </a:ext>
                </a:extLst>
              </p:cNvPr>
              <p:cNvSpPr/>
              <p:nvPr/>
            </p:nvSpPr>
            <p:spPr bwMode="auto">
              <a:xfrm>
                <a:off x="280047" y="3858680"/>
                <a:ext cx="540000" cy="540000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66" name="Rounded Rectangle 3">
                <a:extLst>
                  <a:ext uri="{FF2B5EF4-FFF2-40B4-BE49-F238E27FC236}">
                    <a16:creationId xmlns:a16="http://schemas.microsoft.com/office/drawing/2014/main" id="{28D8A435-DA0E-FE4E-AFD1-1C05AF74B575}"/>
                  </a:ext>
                </a:extLst>
              </p:cNvPr>
              <p:cNvSpPr/>
              <p:nvPr/>
            </p:nvSpPr>
            <p:spPr bwMode="auto">
              <a:xfrm>
                <a:off x="300058" y="3804930"/>
                <a:ext cx="316608" cy="376778"/>
              </a:xfrm>
              <a:custGeom>
                <a:avLst/>
                <a:gdLst/>
                <a:ahLst/>
                <a:cxnLst/>
                <a:rect l="l" t="t" r="r" b="b"/>
                <a:pathLst>
                  <a:path w="4585637" h="4430610">
                    <a:moveTo>
                      <a:pt x="3511693" y="3804340"/>
                    </a:moveTo>
                    <a:lnTo>
                      <a:pt x="3511693" y="3968788"/>
                    </a:lnTo>
                    <a:lnTo>
                      <a:pt x="4273693" y="3968788"/>
                    </a:lnTo>
                    <a:lnTo>
                      <a:pt x="4273693" y="3804340"/>
                    </a:lnTo>
                    <a:close/>
                    <a:moveTo>
                      <a:pt x="2444893" y="3804340"/>
                    </a:moveTo>
                    <a:lnTo>
                      <a:pt x="2444893" y="3968788"/>
                    </a:lnTo>
                    <a:lnTo>
                      <a:pt x="3206893" y="3968788"/>
                    </a:lnTo>
                    <a:lnTo>
                      <a:pt x="3206893" y="3804340"/>
                    </a:lnTo>
                    <a:close/>
                    <a:moveTo>
                      <a:pt x="1378092" y="3804340"/>
                    </a:moveTo>
                    <a:lnTo>
                      <a:pt x="1378092" y="3968788"/>
                    </a:lnTo>
                    <a:lnTo>
                      <a:pt x="2140092" y="3968788"/>
                    </a:lnTo>
                    <a:lnTo>
                      <a:pt x="2140092" y="3804340"/>
                    </a:lnTo>
                    <a:close/>
                    <a:moveTo>
                      <a:pt x="311291" y="3804340"/>
                    </a:moveTo>
                    <a:lnTo>
                      <a:pt x="311291" y="3968788"/>
                    </a:lnTo>
                    <a:lnTo>
                      <a:pt x="1073291" y="3968788"/>
                    </a:lnTo>
                    <a:lnTo>
                      <a:pt x="1073291" y="3804340"/>
                    </a:lnTo>
                    <a:close/>
                    <a:moveTo>
                      <a:pt x="3516456" y="3211409"/>
                    </a:moveTo>
                    <a:lnTo>
                      <a:pt x="3516456" y="3375857"/>
                    </a:lnTo>
                    <a:lnTo>
                      <a:pt x="4278456" y="3375857"/>
                    </a:lnTo>
                    <a:lnTo>
                      <a:pt x="4278456" y="3211409"/>
                    </a:lnTo>
                    <a:close/>
                    <a:moveTo>
                      <a:pt x="2449656" y="3211409"/>
                    </a:moveTo>
                    <a:lnTo>
                      <a:pt x="2449656" y="3375857"/>
                    </a:lnTo>
                    <a:lnTo>
                      <a:pt x="3211656" y="3375857"/>
                    </a:lnTo>
                    <a:lnTo>
                      <a:pt x="3211656" y="3211409"/>
                    </a:lnTo>
                    <a:close/>
                    <a:moveTo>
                      <a:pt x="1382855" y="3211409"/>
                    </a:moveTo>
                    <a:lnTo>
                      <a:pt x="1382855" y="3375857"/>
                    </a:lnTo>
                    <a:lnTo>
                      <a:pt x="2144855" y="3375857"/>
                    </a:lnTo>
                    <a:lnTo>
                      <a:pt x="2144855" y="3211409"/>
                    </a:lnTo>
                    <a:close/>
                    <a:moveTo>
                      <a:pt x="316054" y="3211409"/>
                    </a:moveTo>
                    <a:lnTo>
                      <a:pt x="316054" y="3375857"/>
                    </a:lnTo>
                    <a:lnTo>
                      <a:pt x="1078054" y="3375857"/>
                    </a:lnTo>
                    <a:lnTo>
                      <a:pt x="1078054" y="3211409"/>
                    </a:lnTo>
                    <a:close/>
                    <a:moveTo>
                      <a:pt x="316054" y="2597047"/>
                    </a:moveTo>
                    <a:lnTo>
                      <a:pt x="316054" y="2761495"/>
                    </a:lnTo>
                    <a:lnTo>
                      <a:pt x="1078054" y="2761495"/>
                    </a:lnTo>
                    <a:lnTo>
                      <a:pt x="1078054" y="2597047"/>
                    </a:lnTo>
                    <a:close/>
                    <a:moveTo>
                      <a:pt x="3821256" y="925409"/>
                    </a:moveTo>
                    <a:lnTo>
                      <a:pt x="3821256" y="1382609"/>
                    </a:lnTo>
                    <a:lnTo>
                      <a:pt x="4207019" y="1382609"/>
                    </a:lnTo>
                    <a:lnTo>
                      <a:pt x="4340368" y="925409"/>
                    </a:lnTo>
                    <a:close/>
                    <a:moveTo>
                      <a:pt x="3211656" y="925409"/>
                    </a:moveTo>
                    <a:lnTo>
                      <a:pt x="3211656" y="1382609"/>
                    </a:lnTo>
                    <a:lnTo>
                      <a:pt x="3668856" y="1382609"/>
                    </a:lnTo>
                    <a:lnTo>
                      <a:pt x="3668856" y="925409"/>
                    </a:lnTo>
                    <a:close/>
                    <a:moveTo>
                      <a:pt x="2540144" y="925409"/>
                    </a:moveTo>
                    <a:lnTo>
                      <a:pt x="2673493" y="1382609"/>
                    </a:lnTo>
                    <a:lnTo>
                      <a:pt x="3059256" y="1382609"/>
                    </a:lnTo>
                    <a:lnTo>
                      <a:pt x="3059256" y="925409"/>
                    </a:lnTo>
                    <a:close/>
                    <a:moveTo>
                      <a:pt x="1854604" y="320534"/>
                    </a:moveTo>
                    <a:cubicBezTo>
                      <a:pt x="1868644" y="321175"/>
                      <a:pt x="1882648" y="322999"/>
                      <a:pt x="1897182" y="326088"/>
                    </a:cubicBezTo>
                    <a:cubicBezTo>
                      <a:pt x="1955318" y="338444"/>
                      <a:pt x="2041305" y="374715"/>
                      <a:pt x="2060737" y="418694"/>
                    </a:cubicBezTo>
                    <a:cubicBezTo>
                      <a:pt x="2080170" y="462673"/>
                      <a:pt x="2056699" y="548832"/>
                      <a:pt x="1981831" y="590027"/>
                    </a:cubicBezTo>
                    <a:lnTo>
                      <a:pt x="445598" y="1361936"/>
                    </a:lnTo>
                    <a:lnTo>
                      <a:pt x="443891" y="1362500"/>
                    </a:lnTo>
                    <a:cubicBezTo>
                      <a:pt x="442176" y="1364739"/>
                      <a:pt x="439879" y="1365953"/>
                      <a:pt x="437545" y="1367126"/>
                    </a:cubicBezTo>
                    <a:cubicBezTo>
                      <a:pt x="371011" y="1400557"/>
                      <a:pt x="295066" y="1390567"/>
                      <a:pt x="248038" y="1346225"/>
                    </a:cubicBezTo>
                    <a:lnTo>
                      <a:pt x="16579" y="1164369"/>
                    </a:lnTo>
                    <a:cubicBezTo>
                      <a:pt x="-2257" y="1149571"/>
                      <a:pt x="-5530" y="1122305"/>
                      <a:pt x="9269" y="1103469"/>
                    </a:cubicBezTo>
                    <a:lnTo>
                      <a:pt x="73285" y="1021992"/>
                    </a:lnTo>
                    <a:cubicBezTo>
                      <a:pt x="95168" y="1006660"/>
                      <a:pt x="105909" y="999828"/>
                      <a:pt x="140568" y="1011475"/>
                    </a:cubicBezTo>
                    <a:cubicBezTo>
                      <a:pt x="171108" y="1021738"/>
                      <a:pt x="292663" y="1064897"/>
                      <a:pt x="384942" y="1097459"/>
                    </a:cubicBezTo>
                    <a:cubicBezTo>
                      <a:pt x="507811" y="1030299"/>
                      <a:pt x="693444" y="919873"/>
                      <a:pt x="875830" y="810353"/>
                    </a:cubicBezTo>
                    <a:lnTo>
                      <a:pt x="378283" y="552112"/>
                    </a:lnTo>
                    <a:cubicBezTo>
                      <a:pt x="363710" y="544548"/>
                      <a:pt x="358028" y="526602"/>
                      <a:pt x="365592" y="512030"/>
                    </a:cubicBezTo>
                    <a:lnTo>
                      <a:pt x="451454" y="395255"/>
                    </a:lnTo>
                    <a:cubicBezTo>
                      <a:pt x="455236" y="387968"/>
                      <a:pt x="465072" y="381832"/>
                      <a:pt x="475784" y="378464"/>
                    </a:cubicBezTo>
                    <a:cubicBezTo>
                      <a:pt x="486496" y="375094"/>
                      <a:pt x="498085" y="374493"/>
                      <a:pt x="505372" y="378275"/>
                    </a:cubicBezTo>
                    <a:lnTo>
                      <a:pt x="1358452" y="522351"/>
                    </a:lnTo>
                    <a:lnTo>
                      <a:pt x="1360840" y="520965"/>
                    </a:lnTo>
                    <a:cubicBezTo>
                      <a:pt x="1590781" y="388993"/>
                      <a:pt x="1634434" y="367515"/>
                      <a:pt x="1711918" y="344559"/>
                    </a:cubicBezTo>
                    <a:cubicBezTo>
                      <a:pt x="1770031" y="327342"/>
                      <a:pt x="1812484" y="318611"/>
                      <a:pt x="1854604" y="320534"/>
                    </a:cubicBezTo>
                    <a:close/>
                    <a:moveTo>
                      <a:pt x="3121607" y="0"/>
                    </a:moveTo>
                    <a:lnTo>
                      <a:pt x="3758905" y="0"/>
                    </a:lnTo>
                    <a:cubicBezTo>
                      <a:pt x="3796848" y="0"/>
                      <a:pt x="3827606" y="30758"/>
                      <a:pt x="3827606" y="68701"/>
                    </a:cubicBezTo>
                    <a:lnTo>
                      <a:pt x="3827606" y="247108"/>
                    </a:lnTo>
                    <a:cubicBezTo>
                      <a:pt x="3827606" y="285051"/>
                      <a:pt x="3796848" y="315809"/>
                      <a:pt x="3758905" y="315809"/>
                    </a:cubicBezTo>
                    <a:lnTo>
                      <a:pt x="3518837" y="315809"/>
                    </a:lnTo>
                    <a:lnTo>
                      <a:pt x="3518837" y="468209"/>
                    </a:lnTo>
                    <a:lnTo>
                      <a:pt x="4226230" y="468209"/>
                    </a:lnTo>
                    <a:lnTo>
                      <a:pt x="4226235" y="468210"/>
                    </a:lnTo>
                    <a:lnTo>
                      <a:pt x="4362188" y="468210"/>
                    </a:lnTo>
                    <a:cubicBezTo>
                      <a:pt x="4397052" y="468210"/>
                      <a:pt x="4427523" y="487017"/>
                      <a:pt x="4442647" y="515841"/>
                    </a:cubicBezTo>
                    <a:lnTo>
                      <a:pt x="4447525" y="515835"/>
                    </a:lnTo>
                    <a:lnTo>
                      <a:pt x="4585637" y="773009"/>
                    </a:lnTo>
                    <a:lnTo>
                      <a:pt x="4585637" y="944459"/>
                    </a:lnTo>
                    <a:lnTo>
                      <a:pt x="4376087" y="1592159"/>
                    </a:lnTo>
                    <a:lnTo>
                      <a:pt x="4372886" y="1592163"/>
                    </a:lnTo>
                    <a:cubicBezTo>
                      <a:pt x="4348147" y="1648472"/>
                      <a:pt x="4291736" y="1687408"/>
                      <a:pt x="4226230" y="1687408"/>
                    </a:cubicBezTo>
                    <a:lnTo>
                      <a:pt x="3973656" y="1687408"/>
                    </a:lnTo>
                    <a:lnTo>
                      <a:pt x="3973656" y="2754210"/>
                    </a:lnTo>
                    <a:lnTo>
                      <a:pt x="4367369" y="2754210"/>
                    </a:lnTo>
                    <a:cubicBezTo>
                      <a:pt x="4486600" y="2754210"/>
                      <a:pt x="4583256" y="2850866"/>
                      <a:pt x="4583256" y="2970097"/>
                    </a:cubicBezTo>
                    <a:lnTo>
                      <a:pt x="4583256" y="4214723"/>
                    </a:lnTo>
                    <a:cubicBezTo>
                      <a:pt x="4583256" y="4333954"/>
                      <a:pt x="4486600" y="4430610"/>
                      <a:pt x="4367369" y="4430610"/>
                    </a:cubicBezTo>
                    <a:lnTo>
                      <a:pt x="227143" y="4430610"/>
                    </a:lnTo>
                    <a:cubicBezTo>
                      <a:pt x="107912" y="4430610"/>
                      <a:pt x="11256" y="4333954"/>
                      <a:pt x="11256" y="4214723"/>
                    </a:cubicBezTo>
                    <a:lnTo>
                      <a:pt x="11256" y="3599970"/>
                    </a:lnTo>
                    <a:lnTo>
                      <a:pt x="11256" y="2970097"/>
                    </a:lnTo>
                    <a:lnTo>
                      <a:pt x="11256" y="2369202"/>
                    </a:lnTo>
                    <a:cubicBezTo>
                      <a:pt x="11256" y="2246144"/>
                      <a:pt x="111014" y="2146386"/>
                      <a:pt x="234072" y="2146386"/>
                    </a:cubicBezTo>
                    <a:lnTo>
                      <a:pt x="1160040" y="2146386"/>
                    </a:lnTo>
                    <a:cubicBezTo>
                      <a:pt x="1283098" y="2146386"/>
                      <a:pt x="1382856" y="2246144"/>
                      <a:pt x="1382856" y="2369202"/>
                    </a:cubicBezTo>
                    <a:lnTo>
                      <a:pt x="1382856" y="2754210"/>
                    </a:lnTo>
                    <a:lnTo>
                      <a:pt x="2906856" y="2754210"/>
                    </a:lnTo>
                    <a:lnTo>
                      <a:pt x="2906856" y="1687408"/>
                    </a:lnTo>
                    <a:lnTo>
                      <a:pt x="2654282" y="1687408"/>
                    </a:lnTo>
                    <a:cubicBezTo>
                      <a:pt x="2589788" y="1687408"/>
                      <a:pt x="2534108" y="1649664"/>
                      <a:pt x="2509227" y="1594537"/>
                    </a:cubicBezTo>
                    <a:lnTo>
                      <a:pt x="2506806" y="1594540"/>
                    </a:lnTo>
                    <a:lnTo>
                      <a:pt x="2297256" y="942078"/>
                    </a:lnTo>
                    <a:lnTo>
                      <a:pt x="2297256" y="942077"/>
                    </a:lnTo>
                    <a:lnTo>
                      <a:pt x="2297256" y="771844"/>
                    </a:lnTo>
                    <a:lnTo>
                      <a:pt x="2299129" y="771844"/>
                    </a:lnTo>
                    <a:lnTo>
                      <a:pt x="2432988" y="518216"/>
                    </a:lnTo>
                    <a:lnTo>
                      <a:pt x="2436267" y="518212"/>
                    </a:lnTo>
                    <a:cubicBezTo>
                      <a:pt x="2451185" y="488150"/>
                      <a:pt x="2482426" y="468210"/>
                      <a:pt x="2518324" y="468210"/>
                    </a:cubicBezTo>
                    <a:lnTo>
                      <a:pt x="2654277" y="468210"/>
                    </a:lnTo>
                    <a:lnTo>
                      <a:pt x="3361675" y="468209"/>
                    </a:lnTo>
                    <a:lnTo>
                      <a:pt x="3361675" y="315809"/>
                    </a:lnTo>
                    <a:lnTo>
                      <a:pt x="3121607" y="315809"/>
                    </a:lnTo>
                    <a:cubicBezTo>
                      <a:pt x="3083664" y="315809"/>
                      <a:pt x="3052906" y="285051"/>
                      <a:pt x="3052906" y="247108"/>
                    </a:cubicBezTo>
                    <a:lnTo>
                      <a:pt x="3052906" y="68701"/>
                    </a:lnTo>
                    <a:cubicBezTo>
                      <a:pt x="3052906" y="30758"/>
                      <a:pt x="3083664" y="0"/>
                      <a:pt x="3121607" y="0"/>
                    </a:cubicBezTo>
                    <a:close/>
                  </a:path>
                </a:pathLst>
              </a:cu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endParaRPr>
              </a:p>
            </p:txBody>
          </p:sp>
        </p:grpSp>
        <p:grpSp>
          <p:nvGrpSpPr>
            <p:cNvPr id="9" name="Группа 8">
              <a:extLst>
                <a:ext uri="{FF2B5EF4-FFF2-40B4-BE49-F238E27FC236}">
                  <a16:creationId xmlns:a16="http://schemas.microsoft.com/office/drawing/2014/main" id="{C1845FB1-7958-D14F-AE9C-267AEED14957}"/>
                </a:ext>
              </a:extLst>
            </p:cNvPr>
            <p:cNvGrpSpPr/>
            <p:nvPr/>
          </p:nvGrpSpPr>
          <p:grpSpPr>
            <a:xfrm>
              <a:off x="291267" y="4719413"/>
              <a:ext cx="2418478" cy="597351"/>
              <a:chOff x="291267" y="4719413"/>
              <a:chExt cx="2418478" cy="597351"/>
            </a:xfrm>
          </p:grpSpPr>
          <p:sp>
            <p:nvSpPr>
              <p:cNvPr id="68" name="Овал 67">
                <a:extLst>
                  <a:ext uri="{FF2B5EF4-FFF2-40B4-BE49-F238E27FC236}">
                    <a16:creationId xmlns:a16="http://schemas.microsoft.com/office/drawing/2014/main" id="{C0580BE1-AF07-E447-B2B8-95B85E101E47}"/>
                  </a:ext>
                </a:extLst>
              </p:cNvPr>
              <p:cNvSpPr/>
              <p:nvPr/>
            </p:nvSpPr>
            <p:spPr bwMode="auto">
              <a:xfrm>
                <a:off x="302272" y="4776764"/>
                <a:ext cx="540000" cy="540000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69" name="Rounded Rectangle 21">
                <a:extLst>
                  <a:ext uri="{FF2B5EF4-FFF2-40B4-BE49-F238E27FC236}">
                    <a16:creationId xmlns:a16="http://schemas.microsoft.com/office/drawing/2014/main" id="{12361FF9-DAF2-DE47-ACB4-685047B08A4E}"/>
                  </a:ext>
                </a:extLst>
              </p:cNvPr>
              <p:cNvSpPr/>
              <p:nvPr/>
            </p:nvSpPr>
            <p:spPr bwMode="auto">
              <a:xfrm>
                <a:off x="291267" y="4758918"/>
                <a:ext cx="372625" cy="381794"/>
              </a:xfrm>
              <a:custGeom>
                <a:avLst/>
                <a:gdLst/>
                <a:ahLst/>
                <a:cxnLst/>
                <a:rect l="l" t="t" r="r" b="b"/>
                <a:pathLst>
                  <a:path w="2598233" h="2241701">
                    <a:moveTo>
                      <a:pt x="2111299" y="851852"/>
                    </a:moveTo>
                    <a:lnTo>
                      <a:pt x="2425561" y="851852"/>
                    </a:lnTo>
                    <a:cubicBezTo>
                      <a:pt x="2520925" y="851852"/>
                      <a:pt x="2598233" y="929523"/>
                      <a:pt x="2598233" y="1025335"/>
                    </a:cubicBezTo>
                    <a:lnTo>
                      <a:pt x="2598233" y="1059305"/>
                    </a:lnTo>
                    <a:lnTo>
                      <a:pt x="2598233" y="1352534"/>
                    </a:lnTo>
                    <a:lnTo>
                      <a:pt x="2598233" y="1457980"/>
                    </a:lnTo>
                    <a:cubicBezTo>
                      <a:pt x="2598233" y="1491600"/>
                      <a:pt x="2570978" y="1518855"/>
                      <a:pt x="2537358" y="1518855"/>
                    </a:cubicBezTo>
                    <a:cubicBezTo>
                      <a:pt x="2503737" y="1518855"/>
                      <a:pt x="2476482" y="1491600"/>
                      <a:pt x="2476482" y="1457980"/>
                    </a:cubicBezTo>
                    <a:lnTo>
                      <a:pt x="2476482" y="1079719"/>
                    </a:lnTo>
                    <a:cubicBezTo>
                      <a:pt x="2476133" y="1072338"/>
                      <a:pt x="2469868" y="1066744"/>
                      <a:pt x="2462297" y="1066744"/>
                    </a:cubicBezTo>
                    <a:cubicBezTo>
                      <a:pt x="2453991" y="1066744"/>
                      <a:pt x="2447257" y="1073478"/>
                      <a:pt x="2447257" y="1081784"/>
                    </a:cubicBezTo>
                    <a:lnTo>
                      <a:pt x="2447257" y="1523637"/>
                    </a:lnTo>
                    <a:cubicBezTo>
                      <a:pt x="2446667" y="1523871"/>
                      <a:pt x="2446056" y="1523939"/>
                      <a:pt x="2445445" y="1524003"/>
                    </a:cubicBezTo>
                    <a:lnTo>
                      <a:pt x="2445445" y="2153157"/>
                    </a:lnTo>
                    <a:cubicBezTo>
                      <a:pt x="2445445" y="2198113"/>
                      <a:pt x="2409171" y="2234558"/>
                      <a:pt x="2364424" y="2234558"/>
                    </a:cubicBezTo>
                    <a:cubicBezTo>
                      <a:pt x="2319678" y="2234558"/>
                      <a:pt x="2283403" y="2198113"/>
                      <a:pt x="2283403" y="2153157"/>
                    </a:cubicBezTo>
                    <a:lnTo>
                      <a:pt x="2283403" y="1526017"/>
                    </a:lnTo>
                    <a:lnTo>
                      <a:pt x="2253456" y="1526017"/>
                    </a:lnTo>
                    <a:lnTo>
                      <a:pt x="2253456" y="2153157"/>
                    </a:lnTo>
                    <a:cubicBezTo>
                      <a:pt x="2253456" y="2198113"/>
                      <a:pt x="2217182" y="2234558"/>
                      <a:pt x="2172435" y="2234558"/>
                    </a:cubicBezTo>
                    <a:cubicBezTo>
                      <a:pt x="2127689" y="2234558"/>
                      <a:pt x="2091414" y="2198113"/>
                      <a:pt x="2091414" y="2153157"/>
                    </a:cubicBezTo>
                    <a:lnTo>
                      <a:pt x="2091414" y="1524003"/>
                    </a:lnTo>
                    <a:lnTo>
                      <a:pt x="2090743" y="1523868"/>
                    </a:lnTo>
                    <a:lnTo>
                      <a:pt x="2090744" y="1081784"/>
                    </a:lnTo>
                    <a:cubicBezTo>
                      <a:pt x="2090744" y="1073478"/>
                      <a:pt x="2084010" y="1066744"/>
                      <a:pt x="2075703" y="1066744"/>
                    </a:cubicBezTo>
                    <a:cubicBezTo>
                      <a:pt x="2067397" y="1066744"/>
                      <a:pt x="2060663" y="1073478"/>
                      <a:pt x="2060663" y="1081784"/>
                    </a:cubicBezTo>
                    <a:lnTo>
                      <a:pt x="2060663" y="1451535"/>
                    </a:lnTo>
                    <a:lnTo>
                      <a:pt x="2060377" y="1451535"/>
                    </a:lnTo>
                    <a:lnTo>
                      <a:pt x="2060377" y="1457980"/>
                    </a:lnTo>
                    <a:cubicBezTo>
                      <a:pt x="2060377" y="1491600"/>
                      <a:pt x="2033122" y="1518855"/>
                      <a:pt x="1999501" y="1518855"/>
                    </a:cubicBezTo>
                    <a:cubicBezTo>
                      <a:pt x="1965881" y="1518855"/>
                      <a:pt x="1938626" y="1491600"/>
                      <a:pt x="1938626" y="1457980"/>
                    </a:cubicBezTo>
                    <a:lnTo>
                      <a:pt x="1938626" y="1352534"/>
                    </a:lnTo>
                    <a:lnTo>
                      <a:pt x="1938626" y="1059305"/>
                    </a:lnTo>
                    <a:lnTo>
                      <a:pt x="1938626" y="1025335"/>
                    </a:lnTo>
                    <a:cubicBezTo>
                      <a:pt x="1938626" y="929523"/>
                      <a:pt x="2015934" y="851852"/>
                      <a:pt x="2111299" y="851852"/>
                    </a:cubicBezTo>
                    <a:close/>
                    <a:moveTo>
                      <a:pt x="1429417" y="851852"/>
                    </a:moveTo>
                    <a:lnTo>
                      <a:pt x="1743679" y="851852"/>
                    </a:lnTo>
                    <a:cubicBezTo>
                      <a:pt x="1839043" y="851852"/>
                      <a:pt x="1916351" y="929523"/>
                      <a:pt x="1916351" y="1025335"/>
                    </a:cubicBezTo>
                    <a:lnTo>
                      <a:pt x="1916351" y="1059305"/>
                    </a:lnTo>
                    <a:lnTo>
                      <a:pt x="1916351" y="1352534"/>
                    </a:lnTo>
                    <a:lnTo>
                      <a:pt x="1916351" y="1457980"/>
                    </a:lnTo>
                    <a:cubicBezTo>
                      <a:pt x="1916351" y="1491600"/>
                      <a:pt x="1889096" y="1518855"/>
                      <a:pt x="1855476" y="1518855"/>
                    </a:cubicBezTo>
                    <a:cubicBezTo>
                      <a:pt x="1821855" y="1518855"/>
                      <a:pt x="1794600" y="1491600"/>
                      <a:pt x="1794600" y="1457980"/>
                    </a:cubicBezTo>
                    <a:lnTo>
                      <a:pt x="1794600" y="1079719"/>
                    </a:lnTo>
                    <a:cubicBezTo>
                      <a:pt x="1794251" y="1072338"/>
                      <a:pt x="1787986" y="1066744"/>
                      <a:pt x="1780415" y="1066744"/>
                    </a:cubicBezTo>
                    <a:cubicBezTo>
                      <a:pt x="1772109" y="1066744"/>
                      <a:pt x="1765375" y="1073478"/>
                      <a:pt x="1765375" y="1081784"/>
                    </a:cubicBezTo>
                    <a:lnTo>
                      <a:pt x="1765375" y="1523637"/>
                    </a:lnTo>
                    <a:cubicBezTo>
                      <a:pt x="1764785" y="1523871"/>
                      <a:pt x="1764174" y="1523939"/>
                      <a:pt x="1763563" y="1524003"/>
                    </a:cubicBezTo>
                    <a:lnTo>
                      <a:pt x="1763563" y="2153157"/>
                    </a:lnTo>
                    <a:cubicBezTo>
                      <a:pt x="1763563" y="2198113"/>
                      <a:pt x="1727289" y="2234558"/>
                      <a:pt x="1682542" y="2234558"/>
                    </a:cubicBezTo>
                    <a:cubicBezTo>
                      <a:pt x="1637796" y="2234558"/>
                      <a:pt x="1601522" y="2198113"/>
                      <a:pt x="1601522" y="2153157"/>
                    </a:cubicBezTo>
                    <a:lnTo>
                      <a:pt x="1601522" y="1526017"/>
                    </a:lnTo>
                    <a:lnTo>
                      <a:pt x="1571574" y="1526017"/>
                    </a:lnTo>
                    <a:lnTo>
                      <a:pt x="1571574" y="2153157"/>
                    </a:lnTo>
                    <a:cubicBezTo>
                      <a:pt x="1571574" y="2198113"/>
                      <a:pt x="1535300" y="2234558"/>
                      <a:pt x="1490553" y="2234558"/>
                    </a:cubicBezTo>
                    <a:cubicBezTo>
                      <a:pt x="1445807" y="2234558"/>
                      <a:pt x="1409532" y="2198113"/>
                      <a:pt x="1409532" y="2153157"/>
                    </a:cubicBezTo>
                    <a:lnTo>
                      <a:pt x="1409532" y="1524003"/>
                    </a:lnTo>
                    <a:lnTo>
                      <a:pt x="1408861" y="1523868"/>
                    </a:lnTo>
                    <a:lnTo>
                      <a:pt x="1408862" y="1081784"/>
                    </a:lnTo>
                    <a:cubicBezTo>
                      <a:pt x="1408862" y="1073478"/>
                      <a:pt x="1402128" y="1066744"/>
                      <a:pt x="1393821" y="1066744"/>
                    </a:cubicBezTo>
                    <a:cubicBezTo>
                      <a:pt x="1387379" y="1066744"/>
                      <a:pt x="1381882" y="1070795"/>
                      <a:pt x="1380808" y="1076891"/>
                    </a:cubicBezTo>
                    <a:lnTo>
                      <a:pt x="1380808" y="1138151"/>
                    </a:lnTo>
                    <a:lnTo>
                      <a:pt x="1378781" y="1135970"/>
                    </a:lnTo>
                    <a:lnTo>
                      <a:pt x="1378781" y="1451535"/>
                    </a:lnTo>
                    <a:lnTo>
                      <a:pt x="1378495" y="1451535"/>
                    </a:lnTo>
                    <a:lnTo>
                      <a:pt x="1378495" y="1457980"/>
                    </a:lnTo>
                    <a:cubicBezTo>
                      <a:pt x="1378495" y="1491600"/>
                      <a:pt x="1351240" y="1518855"/>
                      <a:pt x="1317620" y="1518855"/>
                    </a:cubicBezTo>
                    <a:cubicBezTo>
                      <a:pt x="1283999" y="1518855"/>
                      <a:pt x="1256744" y="1491600"/>
                      <a:pt x="1256744" y="1457980"/>
                    </a:cubicBezTo>
                    <a:lnTo>
                      <a:pt x="1256744" y="1352534"/>
                    </a:lnTo>
                    <a:lnTo>
                      <a:pt x="1256744" y="1059305"/>
                    </a:lnTo>
                    <a:lnTo>
                      <a:pt x="1256744" y="1025335"/>
                    </a:lnTo>
                    <a:cubicBezTo>
                      <a:pt x="1256744" y="929523"/>
                      <a:pt x="1334052" y="851852"/>
                      <a:pt x="1429417" y="851852"/>
                    </a:cubicBezTo>
                    <a:close/>
                    <a:moveTo>
                      <a:pt x="531871" y="851641"/>
                    </a:moveTo>
                    <a:lnTo>
                      <a:pt x="846789" y="851641"/>
                    </a:lnTo>
                    <a:cubicBezTo>
                      <a:pt x="942352" y="851641"/>
                      <a:pt x="1019822" y="929475"/>
                      <a:pt x="1019822" y="1025487"/>
                    </a:cubicBezTo>
                    <a:lnTo>
                      <a:pt x="1019822" y="1059528"/>
                    </a:lnTo>
                    <a:lnTo>
                      <a:pt x="1019822" y="1353369"/>
                    </a:lnTo>
                    <a:lnTo>
                      <a:pt x="1019822" y="1459034"/>
                    </a:lnTo>
                    <a:cubicBezTo>
                      <a:pt x="1019822" y="1492725"/>
                      <a:pt x="992510" y="1520037"/>
                      <a:pt x="958819" y="1520037"/>
                    </a:cubicBezTo>
                    <a:cubicBezTo>
                      <a:pt x="925129" y="1520037"/>
                      <a:pt x="897817" y="1492725"/>
                      <a:pt x="897817" y="1459034"/>
                    </a:cubicBezTo>
                    <a:lnTo>
                      <a:pt x="897817" y="1079984"/>
                    </a:lnTo>
                    <a:cubicBezTo>
                      <a:pt x="897467" y="1072588"/>
                      <a:pt x="891189" y="1066982"/>
                      <a:pt x="883602" y="1066982"/>
                    </a:cubicBezTo>
                    <a:cubicBezTo>
                      <a:pt x="875279" y="1066982"/>
                      <a:pt x="868531" y="1073730"/>
                      <a:pt x="868531" y="1082054"/>
                    </a:cubicBezTo>
                    <a:lnTo>
                      <a:pt x="868531" y="1524829"/>
                    </a:lnTo>
                    <a:cubicBezTo>
                      <a:pt x="867939" y="1525063"/>
                      <a:pt x="867328" y="1525131"/>
                      <a:pt x="866715" y="1525196"/>
                    </a:cubicBezTo>
                    <a:lnTo>
                      <a:pt x="866715" y="2155663"/>
                    </a:lnTo>
                    <a:cubicBezTo>
                      <a:pt x="866715" y="2200713"/>
                      <a:pt x="830365" y="2237234"/>
                      <a:pt x="785525" y="2237234"/>
                    </a:cubicBezTo>
                    <a:cubicBezTo>
                      <a:pt x="740685" y="2237234"/>
                      <a:pt x="704335" y="2200713"/>
                      <a:pt x="704335" y="2155663"/>
                    </a:cubicBezTo>
                    <a:lnTo>
                      <a:pt x="704335" y="1527214"/>
                    </a:lnTo>
                    <a:lnTo>
                      <a:pt x="674325" y="1527214"/>
                    </a:lnTo>
                    <a:lnTo>
                      <a:pt x="674325" y="2155663"/>
                    </a:lnTo>
                    <a:cubicBezTo>
                      <a:pt x="674325" y="2200713"/>
                      <a:pt x="637975" y="2237234"/>
                      <a:pt x="593135" y="2237234"/>
                    </a:cubicBezTo>
                    <a:cubicBezTo>
                      <a:pt x="548295" y="2237234"/>
                      <a:pt x="511945" y="2200713"/>
                      <a:pt x="511945" y="2155663"/>
                    </a:cubicBezTo>
                    <a:lnTo>
                      <a:pt x="511945" y="1525196"/>
                    </a:lnTo>
                    <a:lnTo>
                      <a:pt x="511272" y="1525060"/>
                    </a:lnTo>
                    <a:lnTo>
                      <a:pt x="511273" y="1082054"/>
                    </a:lnTo>
                    <a:cubicBezTo>
                      <a:pt x="511273" y="1073730"/>
                      <a:pt x="504525" y="1066982"/>
                      <a:pt x="496201" y="1066982"/>
                    </a:cubicBezTo>
                    <a:cubicBezTo>
                      <a:pt x="487878" y="1066982"/>
                      <a:pt x="481130" y="1073730"/>
                      <a:pt x="481130" y="1082054"/>
                    </a:cubicBezTo>
                    <a:lnTo>
                      <a:pt x="481130" y="1452576"/>
                    </a:lnTo>
                    <a:lnTo>
                      <a:pt x="480843" y="1452576"/>
                    </a:lnTo>
                    <a:lnTo>
                      <a:pt x="480843" y="1459034"/>
                    </a:lnTo>
                    <a:cubicBezTo>
                      <a:pt x="480843" y="1492725"/>
                      <a:pt x="453531" y="1520037"/>
                      <a:pt x="419840" y="1520037"/>
                    </a:cubicBezTo>
                    <a:cubicBezTo>
                      <a:pt x="386149" y="1520037"/>
                      <a:pt x="358838" y="1492725"/>
                      <a:pt x="358838" y="1459034"/>
                    </a:cubicBezTo>
                    <a:lnTo>
                      <a:pt x="358838" y="1353369"/>
                    </a:lnTo>
                    <a:lnTo>
                      <a:pt x="358838" y="1059528"/>
                    </a:lnTo>
                    <a:lnTo>
                      <a:pt x="358838" y="1025487"/>
                    </a:lnTo>
                    <a:cubicBezTo>
                      <a:pt x="358838" y="929475"/>
                      <a:pt x="436307" y="851641"/>
                      <a:pt x="531871" y="851641"/>
                    </a:cubicBezTo>
                    <a:close/>
                    <a:moveTo>
                      <a:pt x="2268429" y="534823"/>
                    </a:moveTo>
                    <a:cubicBezTo>
                      <a:pt x="2346745" y="534823"/>
                      <a:pt x="2410233" y="598311"/>
                      <a:pt x="2410233" y="676627"/>
                    </a:cubicBezTo>
                    <a:cubicBezTo>
                      <a:pt x="2410233" y="754943"/>
                      <a:pt x="2346745" y="818431"/>
                      <a:pt x="2268429" y="818431"/>
                    </a:cubicBezTo>
                    <a:cubicBezTo>
                      <a:pt x="2190113" y="818431"/>
                      <a:pt x="2126625" y="754943"/>
                      <a:pt x="2126625" y="676627"/>
                    </a:cubicBezTo>
                    <a:cubicBezTo>
                      <a:pt x="2126625" y="598311"/>
                      <a:pt x="2190113" y="534823"/>
                      <a:pt x="2268429" y="534823"/>
                    </a:cubicBezTo>
                    <a:close/>
                    <a:moveTo>
                      <a:pt x="1586547" y="534823"/>
                    </a:moveTo>
                    <a:cubicBezTo>
                      <a:pt x="1664864" y="534823"/>
                      <a:pt x="1728351" y="598311"/>
                      <a:pt x="1728351" y="676627"/>
                    </a:cubicBezTo>
                    <a:cubicBezTo>
                      <a:pt x="1728351" y="754943"/>
                      <a:pt x="1664864" y="818431"/>
                      <a:pt x="1586547" y="818431"/>
                    </a:cubicBezTo>
                    <a:cubicBezTo>
                      <a:pt x="1508231" y="818431"/>
                      <a:pt x="1444743" y="754943"/>
                      <a:pt x="1444743" y="676627"/>
                    </a:cubicBezTo>
                    <a:cubicBezTo>
                      <a:pt x="1444743" y="598311"/>
                      <a:pt x="1508231" y="534823"/>
                      <a:pt x="1586547" y="534823"/>
                    </a:cubicBezTo>
                    <a:close/>
                    <a:moveTo>
                      <a:pt x="689329" y="533951"/>
                    </a:moveTo>
                    <a:cubicBezTo>
                      <a:pt x="767809" y="533951"/>
                      <a:pt x="831429" y="597571"/>
                      <a:pt x="831429" y="676051"/>
                    </a:cubicBezTo>
                    <a:cubicBezTo>
                      <a:pt x="831429" y="754531"/>
                      <a:pt x="767809" y="818151"/>
                      <a:pt x="689329" y="818151"/>
                    </a:cubicBezTo>
                    <a:cubicBezTo>
                      <a:pt x="610850" y="818151"/>
                      <a:pt x="547230" y="754531"/>
                      <a:pt x="547230" y="676051"/>
                    </a:cubicBezTo>
                    <a:cubicBezTo>
                      <a:pt x="547230" y="597571"/>
                      <a:pt x="610850" y="533951"/>
                      <a:pt x="689329" y="533951"/>
                    </a:cubicBezTo>
                    <a:close/>
                    <a:moveTo>
                      <a:pt x="788726" y="127885"/>
                    </a:moveTo>
                    <a:lnTo>
                      <a:pt x="788726" y="218174"/>
                    </a:lnTo>
                    <a:lnTo>
                      <a:pt x="887956" y="218174"/>
                    </a:lnTo>
                    <a:lnTo>
                      <a:pt x="887956" y="127885"/>
                    </a:lnTo>
                    <a:close/>
                    <a:moveTo>
                      <a:pt x="640789" y="127885"/>
                    </a:moveTo>
                    <a:lnTo>
                      <a:pt x="640789" y="218174"/>
                    </a:lnTo>
                    <a:lnTo>
                      <a:pt x="740020" y="218174"/>
                    </a:lnTo>
                    <a:lnTo>
                      <a:pt x="740020" y="127885"/>
                    </a:lnTo>
                    <a:close/>
                    <a:moveTo>
                      <a:pt x="492853" y="127885"/>
                    </a:moveTo>
                    <a:lnTo>
                      <a:pt x="492853" y="218174"/>
                    </a:lnTo>
                    <a:lnTo>
                      <a:pt x="592083" y="218174"/>
                    </a:lnTo>
                    <a:lnTo>
                      <a:pt x="592083" y="127885"/>
                    </a:lnTo>
                    <a:close/>
                    <a:moveTo>
                      <a:pt x="189944" y="0"/>
                    </a:moveTo>
                    <a:lnTo>
                      <a:pt x="1190864" y="0"/>
                    </a:lnTo>
                    <a:cubicBezTo>
                      <a:pt x="1295767" y="0"/>
                      <a:pt x="1380808" y="85041"/>
                      <a:pt x="1380808" y="189944"/>
                    </a:cubicBezTo>
                    <a:lnTo>
                      <a:pt x="1380808" y="843230"/>
                    </a:lnTo>
                    <a:cubicBezTo>
                      <a:pt x="1300029" y="859030"/>
                      <a:pt x="1240315" y="931165"/>
                      <a:pt x="1240315" y="1017286"/>
                    </a:cubicBezTo>
                    <a:lnTo>
                      <a:pt x="1240315" y="1052884"/>
                    </a:lnTo>
                    <a:lnTo>
                      <a:pt x="1240315" y="1187956"/>
                    </a:lnTo>
                    <a:lnTo>
                      <a:pt x="1240315" y="1360162"/>
                    </a:lnTo>
                    <a:lnTo>
                      <a:pt x="1240315" y="1458413"/>
                    </a:lnTo>
                    <a:lnTo>
                      <a:pt x="1240315" y="1470660"/>
                    </a:lnTo>
                    <a:cubicBezTo>
                      <a:pt x="1240315" y="1500411"/>
                      <a:pt x="1260718" y="1525405"/>
                      <a:pt x="1288614" y="1531307"/>
                    </a:cubicBezTo>
                    <a:cubicBezTo>
                      <a:pt x="1298088" y="1535327"/>
                      <a:pt x="1308509" y="1537547"/>
                      <a:pt x="1319449" y="1537547"/>
                    </a:cubicBezTo>
                    <a:lnTo>
                      <a:pt x="1323105" y="1537547"/>
                    </a:lnTo>
                    <a:cubicBezTo>
                      <a:pt x="1346069" y="1537547"/>
                      <a:pt x="1366747" y="1527767"/>
                      <a:pt x="1380808" y="1511779"/>
                    </a:cubicBezTo>
                    <a:lnTo>
                      <a:pt x="1380808" y="2241701"/>
                    </a:lnTo>
                    <a:lnTo>
                      <a:pt x="1187048" y="2241701"/>
                    </a:lnTo>
                    <a:lnTo>
                      <a:pt x="1187048" y="350226"/>
                    </a:lnTo>
                    <a:lnTo>
                      <a:pt x="193761" y="350226"/>
                    </a:lnTo>
                    <a:lnTo>
                      <a:pt x="193761" y="2241701"/>
                    </a:lnTo>
                    <a:lnTo>
                      <a:pt x="0" y="2241701"/>
                    </a:lnTo>
                    <a:lnTo>
                      <a:pt x="0" y="189944"/>
                    </a:lnTo>
                    <a:cubicBezTo>
                      <a:pt x="0" y="85041"/>
                      <a:pt x="85041" y="0"/>
                      <a:pt x="189944" y="0"/>
                    </a:cubicBezTo>
                    <a:close/>
                  </a:path>
                </a:pathLst>
              </a:cu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endParaRPr>
              </a:p>
            </p:txBody>
          </p:sp>
          <p:sp>
            <p:nvSpPr>
              <p:cNvPr id="70" name="Прямоугольник 14">
                <a:extLst>
                  <a:ext uri="{FF2B5EF4-FFF2-40B4-BE49-F238E27FC236}">
                    <a16:creationId xmlns:a16="http://schemas.microsoft.com/office/drawing/2014/main" id="{2E7231D6-F0CE-E647-BDE6-B85C61E02472}"/>
                  </a:ext>
                </a:extLst>
              </p:cNvPr>
              <p:cNvSpPr/>
              <p:nvPr>
                <p:custDataLst>
                  <p:tags r:id="rId4"/>
                </p:custDataLst>
              </p:nvPr>
            </p:nvSpPr>
            <p:spPr bwMode="auto">
              <a:xfrm>
                <a:off x="976142" y="4719413"/>
                <a:ext cx="1733603" cy="5915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680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r>
                  <a:rPr lang="ru-RU" sz="2000" b="1" dirty="0">
                    <a:solidFill>
                      <a:schemeClr val="accent3"/>
                    </a:solidFill>
                  </a:rPr>
                  <a:t>380</a:t>
                </a:r>
                <a:r>
                  <a:rPr lang="ru-RU" sz="1100" b="1" dirty="0">
                    <a:solidFill>
                      <a:schemeClr val="accent3"/>
                    </a:solidFill>
                  </a:rPr>
                  <a:t> пасс./час</a:t>
                </a:r>
                <a:br>
                  <a:rPr lang="en-US" sz="1100" b="1" dirty="0">
                    <a:solidFill>
                      <a:schemeClr val="accent3"/>
                    </a:solidFill>
                  </a:rPr>
                </a:br>
                <a:r>
                  <a:rPr lang="ru-RU" sz="1100" dirty="0">
                    <a:solidFill>
                      <a:schemeClr val="accent3"/>
                    </a:solidFill>
                  </a:rPr>
                  <a:t>Пропускная способность </a:t>
                </a:r>
              </a:p>
            </p:txBody>
          </p:sp>
        </p:grpSp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id="{EB951B74-C034-C44E-A8BE-1639BE240276}"/>
                </a:ext>
              </a:extLst>
            </p:cNvPr>
            <p:cNvGrpSpPr/>
            <p:nvPr/>
          </p:nvGrpSpPr>
          <p:grpSpPr>
            <a:xfrm>
              <a:off x="297292" y="5625983"/>
              <a:ext cx="2512815" cy="591510"/>
              <a:chOff x="297292" y="5625983"/>
              <a:chExt cx="2512815" cy="591510"/>
            </a:xfrm>
          </p:grpSpPr>
          <p:sp>
            <p:nvSpPr>
              <p:cNvPr id="73" name="Овал 72">
                <a:extLst>
                  <a:ext uri="{FF2B5EF4-FFF2-40B4-BE49-F238E27FC236}">
                    <a16:creationId xmlns:a16="http://schemas.microsoft.com/office/drawing/2014/main" id="{E4CF8599-8E9A-E84B-8D98-3CF5A47A304C}"/>
                  </a:ext>
                </a:extLst>
              </p:cNvPr>
              <p:cNvSpPr/>
              <p:nvPr/>
            </p:nvSpPr>
            <p:spPr bwMode="auto">
              <a:xfrm>
                <a:off x="297292" y="5677493"/>
                <a:ext cx="540000" cy="540000"/>
              </a:xfrm>
              <a:prstGeom prst="ellipse">
                <a:avLst/>
              </a:prstGeom>
              <a:solidFill>
                <a:schemeClr val="accent5">
                  <a:lumMod val="40000"/>
                  <a:lumOff val="60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1600" b="1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</a:endParaRPr>
              </a:p>
            </p:txBody>
          </p:sp>
          <p:sp>
            <p:nvSpPr>
              <p:cNvPr id="74" name="Rounded Rectangle 25">
                <a:extLst>
                  <a:ext uri="{FF2B5EF4-FFF2-40B4-BE49-F238E27FC236}">
                    <a16:creationId xmlns:a16="http://schemas.microsoft.com/office/drawing/2014/main" id="{F2DD450D-1480-F348-89A3-F1B1B4CCF011}"/>
                  </a:ext>
                </a:extLst>
              </p:cNvPr>
              <p:cNvSpPr/>
              <p:nvPr/>
            </p:nvSpPr>
            <p:spPr bwMode="auto">
              <a:xfrm>
                <a:off x="322884" y="5677493"/>
                <a:ext cx="293782" cy="388770"/>
              </a:xfrm>
              <a:custGeom>
                <a:avLst/>
                <a:gdLst/>
                <a:ahLst/>
                <a:cxnLst/>
                <a:rect l="l" t="t" r="r" b="b"/>
                <a:pathLst>
                  <a:path w="3493235" h="4206141">
                    <a:moveTo>
                      <a:pt x="2898262" y="1318300"/>
                    </a:moveTo>
                    <a:cubicBezTo>
                      <a:pt x="3017369" y="1317887"/>
                      <a:pt x="3057530" y="1320214"/>
                      <a:pt x="3237999" y="1355760"/>
                    </a:cubicBezTo>
                    <a:cubicBezTo>
                      <a:pt x="3318030" y="1371523"/>
                      <a:pt x="3375798" y="1396284"/>
                      <a:pt x="3414246" y="1433658"/>
                    </a:cubicBezTo>
                    <a:cubicBezTo>
                      <a:pt x="3461549" y="1456414"/>
                      <a:pt x="3493235" y="1505112"/>
                      <a:pt x="3493235" y="1561211"/>
                    </a:cubicBezTo>
                    <a:lnTo>
                      <a:pt x="3493235" y="2403431"/>
                    </a:lnTo>
                    <a:cubicBezTo>
                      <a:pt x="3493235" y="2483948"/>
                      <a:pt x="3427963" y="2549220"/>
                      <a:pt x="3347446" y="2549220"/>
                    </a:cubicBezTo>
                    <a:lnTo>
                      <a:pt x="3347447" y="2549221"/>
                    </a:lnTo>
                    <a:cubicBezTo>
                      <a:pt x="3319618" y="2549221"/>
                      <a:pt x="3293611" y="2541424"/>
                      <a:pt x="3272208" y="2526788"/>
                    </a:cubicBezTo>
                    <a:lnTo>
                      <a:pt x="3272208" y="3545248"/>
                    </a:lnTo>
                    <a:cubicBezTo>
                      <a:pt x="3272208" y="3650903"/>
                      <a:pt x="3186556" y="3736554"/>
                      <a:pt x="3080901" y="3736554"/>
                    </a:cubicBezTo>
                    <a:lnTo>
                      <a:pt x="3080901" y="3736555"/>
                    </a:lnTo>
                    <a:cubicBezTo>
                      <a:pt x="3077627" y="3736555"/>
                      <a:pt x="3074372" y="3736473"/>
                      <a:pt x="3071174" y="3735575"/>
                    </a:cubicBezTo>
                    <a:lnTo>
                      <a:pt x="3063969" y="3736553"/>
                    </a:lnTo>
                    <a:cubicBezTo>
                      <a:pt x="3049901" y="3736553"/>
                      <a:pt x="3031227" y="3731934"/>
                      <a:pt x="3011668" y="3723146"/>
                    </a:cubicBezTo>
                    <a:cubicBezTo>
                      <a:pt x="2995936" y="3717517"/>
                      <a:pt x="2981362" y="3709477"/>
                      <a:pt x="2968412" y="3699323"/>
                    </a:cubicBezTo>
                    <a:cubicBezTo>
                      <a:pt x="2929282" y="3674158"/>
                      <a:pt x="2896384" y="3636586"/>
                      <a:pt x="2896384" y="3594789"/>
                    </a:cubicBezTo>
                    <a:cubicBezTo>
                      <a:pt x="2896384" y="3594240"/>
                      <a:pt x="2896386" y="3593690"/>
                      <a:pt x="2896380" y="3593141"/>
                    </a:cubicBezTo>
                    <a:cubicBezTo>
                      <a:pt x="2893157" y="3582667"/>
                      <a:pt x="2891152" y="3571752"/>
                      <a:pt x="2891742" y="3560410"/>
                    </a:cubicBezTo>
                    <a:cubicBezTo>
                      <a:pt x="2891074" y="3580774"/>
                      <a:pt x="2886310" y="3600173"/>
                      <a:pt x="2878728" y="3618130"/>
                    </a:cubicBezTo>
                    <a:cubicBezTo>
                      <a:pt x="2871292" y="3651199"/>
                      <a:pt x="2844539" y="3679993"/>
                      <a:pt x="2813365" y="3700219"/>
                    </a:cubicBezTo>
                    <a:cubicBezTo>
                      <a:pt x="2801089" y="3709631"/>
                      <a:pt x="2787403" y="3717184"/>
                      <a:pt x="2772707" y="3722676"/>
                    </a:cubicBezTo>
                    <a:cubicBezTo>
                      <a:pt x="2765260" y="3726721"/>
                      <a:pt x="2757646" y="3729464"/>
                      <a:pt x="2749870" y="3729765"/>
                    </a:cubicBezTo>
                    <a:cubicBezTo>
                      <a:pt x="2744834" y="3731811"/>
                      <a:pt x="2739531" y="3732946"/>
                      <a:pt x="2734062" y="3733319"/>
                    </a:cubicBezTo>
                    <a:lnTo>
                      <a:pt x="2719675" y="3736553"/>
                    </a:lnTo>
                    <a:cubicBezTo>
                      <a:pt x="2717300" y="3736534"/>
                      <a:pt x="2714835" y="3736380"/>
                      <a:pt x="2712356" y="3735507"/>
                    </a:cubicBezTo>
                    <a:lnTo>
                      <a:pt x="2701964" y="3736554"/>
                    </a:lnTo>
                    <a:lnTo>
                      <a:pt x="2701965" y="3736555"/>
                    </a:lnTo>
                    <a:cubicBezTo>
                      <a:pt x="2596309" y="3736555"/>
                      <a:pt x="2510658" y="3650904"/>
                      <a:pt x="2510658" y="3545248"/>
                    </a:cubicBezTo>
                    <a:cubicBezTo>
                      <a:pt x="2510658" y="3271665"/>
                      <a:pt x="2510658" y="2998082"/>
                      <a:pt x="2510658" y="2724498"/>
                    </a:cubicBezTo>
                    <a:cubicBezTo>
                      <a:pt x="2568268" y="2689698"/>
                      <a:pt x="2604752" y="2624957"/>
                      <a:pt x="2604752" y="2551481"/>
                    </a:cubicBezTo>
                    <a:lnTo>
                      <a:pt x="2604752" y="1341129"/>
                    </a:lnTo>
                    <a:cubicBezTo>
                      <a:pt x="2708084" y="1320179"/>
                      <a:pt x="2804058" y="1318627"/>
                      <a:pt x="2898262" y="1318300"/>
                    </a:cubicBezTo>
                    <a:close/>
                    <a:moveTo>
                      <a:pt x="594973" y="1318300"/>
                    </a:moveTo>
                    <a:cubicBezTo>
                      <a:pt x="689177" y="1318627"/>
                      <a:pt x="785151" y="1320179"/>
                      <a:pt x="888483" y="1341129"/>
                    </a:cubicBezTo>
                    <a:lnTo>
                      <a:pt x="888483" y="2551481"/>
                    </a:lnTo>
                    <a:cubicBezTo>
                      <a:pt x="888483" y="2624957"/>
                      <a:pt x="924967" y="2689698"/>
                      <a:pt x="982577" y="2724498"/>
                    </a:cubicBezTo>
                    <a:cubicBezTo>
                      <a:pt x="982577" y="2998082"/>
                      <a:pt x="982577" y="3271665"/>
                      <a:pt x="982577" y="3545248"/>
                    </a:cubicBezTo>
                    <a:cubicBezTo>
                      <a:pt x="982577" y="3650904"/>
                      <a:pt x="896926" y="3736555"/>
                      <a:pt x="791270" y="3736555"/>
                    </a:cubicBezTo>
                    <a:lnTo>
                      <a:pt x="791271" y="3736554"/>
                    </a:lnTo>
                    <a:lnTo>
                      <a:pt x="780879" y="3735507"/>
                    </a:lnTo>
                    <a:cubicBezTo>
                      <a:pt x="778400" y="3736380"/>
                      <a:pt x="775935" y="3736534"/>
                      <a:pt x="773560" y="3736553"/>
                    </a:cubicBezTo>
                    <a:lnTo>
                      <a:pt x="759173" y="3733319"/>
                    </a:lnTo>
                    <a:cubicBezTo>
                      <a:pt x="753704" y="3732946"/>
                      <a:pt x="748401" y="3731811"/>
                      <a:pt x="743365" y="3729765"/>
                    </a:cubicBezTo>
                    <a:cubicBezTo>
                      <a:pt x="735589" y="3729464"/>
                      <a:pt x="727975" y="3726721"/>
                      <a:pt x="720528" y="3722676"/>
                    </a:cubicBezTo>
                    <a:cubicBezTo>
                      <a:pt x="705832" y="3717184"/>
                      <a:pt x="692146" y="3709631"/>
                      <a:pt x="679870" y="3700219"/>
                    </a:cubicBezTo>
                    <a:cubicBezTo>
                      <a:pt x="648696" y="3679993"/>
                      <a:pt x="621943" y="3651199"/>
                      <a:pt x="614507" y="3618130"/>
                    </a:cubicBezTo>
                    <a:cubicBezTo>
                      <a:pt x="606925" y="3600173"/>
                      <a:pt x="602161" y="3580774"/>
                      <a:pt x="601493" y="3560410"/>
                    </a:cubicBezTo>
                    <a:cubicBezTo>
                      <a:pt x="602083" y="3571752"/>
                      <a:pt x="600078" y="3582667"/>
                      <a:pt x="596855" y="3593141"/>
                    </a:cubicBezTo>
                    <a:cubicBezTo>
                      <a:pt x="596849" y="3593690"/>
                      <a:pt x="596851" y="3594240"/>
                      <a:pt x="596851" y="3594789"/>
                    </a:cubicBezTo>
                    <a:cubicBezTo>
                      <a:pt x="596851" y="3636586"/>
                      <a:pt x="563953" y="3674158"/>
                      <a:pt x="524823" y="3699323"/>
                    </a:cubicBezTo>
                    <a:cubicBezTo>
                      <a:pt x="511873" y="3709477"/>
                      <a:pt x="497299" y="3717517"/>
                      <a:pt x="481567" y="3723146"/>
                    </a:cubicBezTo>
                    <a:cubicBezTo>
                      <a:pt x="462008" y="3731934"/>
                      <a:pt x="443334" y="3736553"/>
                      <a:pt x="429266" y="3736553"/>
                    </a:cubicBezTo>
                    <a:lnTo>
                      <a:pt x="422061" y="3735575"/>
                    </a:lnTo>
                    <a:cubicBezTo>
                      <a:pt x="418863" y="3736473"/>
                      <a:pt x="415608" y="3736555"/>
                      <a:pt x="412334" y="3736555"/>
                    </a:cubicBezTo>
                    <a:lnTo>
                      <a:pt x="412334" y="3736554"/>
                    </a:lnTo>
                    <a:cubicBezTo>
                      <a:pt x="306679" y="3736554"/>
                      <a:pt x="221027" y="3650903"/>
                      <a:pt x="221027" y="3545248"/>
                    </a:cubicBezTo>
                    <a:lnTo>
                      <a:pt x="221027" y="2526788"/>
                    </a:lnTo>
                    <a:cubicBezTo>
                      <a:pt x="199624" y="2541424"/>
                      <a:pt x="173617" y="2549221"/>
                      <a:pt x="145788" y="2549221"/>
                    </a:cubicBezTo>
                    <a:lnTo>
                      <a:pt x="145789" y="2549220"/>
                    </a:lnTo>
                    <a:cubicBezTo>
                      <a:pt x="65272" y="2549220"/>
                      <a:pt x="0" y="2483948"/>
                      <a:pt x="0" y="2403431"/>
                    </a:cubicBezTo>
                    <a:lnTo>
                      <a:pt x="0" y="1561211"/>
                    </a:lnTo>
                    <a:cubicBezTo>
                      <a:pt x="0" y="1505112"/>
                      <a:pt x="31686" y="1456414"/>
                      <a:pt x="78989" y="1433658"/>
                    </a:cubicBezTo>
                    <a:cubicBezTo>
                      <a:pt x="117437" y="1396284"/>
                      <a:pt x="175205" y="1371523"/>
                      <a:pt x="255236" y="1355760"/>
                    </a:cubicBezTo>
                    <a:cubicBezTo>
                      <a:pt x="435705" y="1320214"/>
                      <a:pt x="475866" y="1317887"/>
                      <a:pt x="594973" y="1318300"/>
                    </a:cubicBezTo>
                    <a:close/>
                    <a:moveTo>
                      <a:pt x="1744145" y="1106068"/>
                    </a:moveTo>
                    <a:cubicBezTo>
                      <a:pt x="1896834" y="1106597"/>
                      <a:pt x="2053150" y="1109639"/>
                      <a:pt x="2227933" y="1160439"/>
                    </a:cubicBezTo>
                    <a:cubicBezTo>
                      <a:pt x="2325185" y="1188705"/>
                      <a:pt x="2402705" y="1218559"/>
                      <a:pt x="2450548" y="1281693"/>
                    </a:cubicBezTo>
                    <a:cubicBezTo>
                      <a:pt x="2487833" y="1314979"/>
                      <a:pt x="2510658" y="1363557"/>
                      <a:pt x="2510658" y="1417467"/>
                    </a:cubicBezTo>
                    <a:cubicBezTo>
                      <a:pt x="2510658" y="1777361"/>
                      <a:pt x="2510657" y="2137255"/>
                      <a:pt x="2510657" y="2497149"/>
                    </a:cubicBezTo>
                    <a:cubicBezTo>
                      <a:pt x="2510657" y="2600367"/>
                      <a:pt x="2426982" y="2684042"/>
                      <a:pt x="2323764" y="2684042"/>
                    </a:cubicBezTo>
                    <a:lnTo>
                      <a:pt x="2323765" y="2684041"/>
                    </a:lnTo>
                    <a:cubicBezTo>
                      <a:pt x="2293737" y="2684041"/>
                      <a:pt x="2265364" y="2676960"/>
                      <a:pt x="2241033" y="2663064"/>
                    </a:cubicBezTo>
                    <a:cubicBezTo>
                      <a:pt x="2241033" y="3095675"/>
                      <a:pt x="2241032" y="3528286"/>
                      <a:pt x="2241032" y="3960896"/>
                    </a:cubicBezTo>
                    <a:cubicBezTo>
                      <a:pt x="2241032" y="4096341"/>
                      <a:pt x="2131232" y="4206141"/>
                      <a:pt x="1995787" y="4206141"/>
                    </a:cubicBezTo>
                    <a:lnTo>
                      <a:pt x="1995788" y="4206140"/>
                    </a:lnTo>
                    <a:lnTo>
                      <a:pt x="1982466" y="4204797"/>
                    </a:lnTo>
                    <a:cubicBezTo>
                      <a:pt x="1979289" y="4205917"/>
                      <a:pt x="1976128" y="4206114"/>
                      <a:pt x="1973084" y="4206138"/>
                    </a:cubicBezTo>
                    <a:lnTo>
                      <a:pt x="1954641" y="4201992"/>
                    </a:lnTo>
                    <a:cubicBezTo>
                      <a:pt x="1947629" y="4201515"/>
                      <a:pt x="1940831" y="4200059"/>
                      <a:pt x="1934375" y="4197437"/>
                    </a:cubicBezTo>
                    <a:cubicBezTo>
                      <a:pt x="1924407" y="4197051"/>
                      <a:pt x="1914647" y="4193534"/>
                      <a:pt x="1905100" y="4188349"/>
                    </a:cubicBezTo>
                    <a:cubicBezTo>
                      <a:pt x="1886260" y="4181308"/>
                      <a:pt x="1868715" y="4171626"/>
                      <a:pt x="1852978" y="4159560"/>
                    </a:cubicBezTo>
                    <a:cubicBezTo>
                      <a:pt x="1813015" y="4133631"/>
                      <a:pt x="1778719" y="4096719"/>
                      <a:pt x="1769186" y="4054326"/>
                    </a:cubicBezTo>
                    <a:cubicBezTo>
                      <a:pt x="1759467" y="4031307"/>
                      <a:pt x="1753359" y="4006438"/>
                      <a:pt x="1752503" y="3980332"/>
                    </a:cubicBezTo>
                    <a:cubicBezTo>
                      <a:pt x="1753260" y="3994872"/>
                      <a:pt x="1750689" y="4008865"/>
                      <a:pt x="1746558" y="4022292"/>
                    </a:cubicBezTo>
                    <a:cubicBezTo>
                      <a:pt x="1746550" y="4022996"/>
                      <a:pt x="1746552" y="4023701"/>
                      <a:pt x="1746553" y="4024405"/>
                    </a:cubicBezTo>
                    <a:cubicBezTo>
                      <a:pt x="1746553" y="4077986"/>
                      <a:pt x="1704379" y="4126151"/>
                      <a:pt x="1654216" y="4158411"/>
                    </a:cubicBezTo>
                    <a:cubicBezTo>
                      <a:pt x="1637615" y="4171428"/>
                      <a:pt x="1618932" y="4181735"/>
                      <a:pt x="1598765" y="4188951"/>
                    </a:cubicBezTo>
                    <a:cubicBezTo>
                      <a:pt x="1573691" y="4200217"/>
                      <a:pt x="1549752" y="4206138"/>
                      <a:pt x="1531718" y="4206138"/>
                    </a:cubicBezTo>
                    <a:lnTo>
                      <a:pt x="1522481" y="4204884"/>
                    </a:lnTo>
                    <a:cubicBezTo>
                      <a:pt x="1518382" y="4206036"/>
                      <a:pt x="1514209" y="4206141"/>
                      <a:pt x="1510011" y="4206141"/>
                    </a:cubicBezTo>
                    <a:lnTo>
                      <a:pt x="1510012" y="4206140"/>
                    </a:lnTo>
                    <a:cubicBezTo>
                      <a:pt x="1374567" y="4206140"/>
                      <a:pt x="1264767" y="4096340"/>
                      <a:pt x="1264767" y="3960895"/>
                    </a:cubicBezTo>
                    <a:lnTo>
                      <a:pt x="1264767" y="2655284"/>
                    </a:lnTo>
                    <a:cubicBezTo>
                      <a:pt x="1237329" y="2674047"/>
                      <a:pt x="1203989" y="2684042"/>
                      <a:pt x="1168314" y="2684042"/>
                    </a:cubicBezTo>
                    <a:lnTo>
                      <a:pt x="1168315" y="2684041"/>
                    </a:lnTo>
                    <a:cubicBezTo>
                      <a:pt x="1065097" y="2684041"/>
                      <a:pt x="981422" y="2600366"/>
                      <a:pt x="981422" y="2497148"/>
                    </a:cubicBezTo>
                    <a:lnTo>
                      <a:pt x="981422" y="1417467"/>
                    </a:lnTo>
                    <a:cubicBezTo>
                      <a:pt x="981422" y="1345551"/>
                      <a:pt x="1022042" y="1283122"/>
                      <a:pt x="1082681" y="1253950"/>
                    </a:cubicBezTo>
                    <a:cubicBezTo>
                      <a:pt x="1131970" y="1206039"/>
                      <a:pt x="1206025" y="1174297"/>
                      <a:pt x="1308621" y="1154089"/>
                    </a:cubicBezTo>
                    <a:cubicBezTo>
                      <a:pt x="1539972" y="1108521"/>
                      <a:pt x="1591456" y="1105539"/>
                      <a:pt x="1744145" y="1106068"/>
                    </a:cubicBezTo>
                    <a:close/>
                    <a:moveTo>
                      <a:pt x="2896785" y="460274"/>
                    </a:moveTo>
                    <a:cubicBezTo>
                      <a:pt x="3100542" y="460274"/>
                      <a:pt x="3265719" y="625451"/>
                      <a:pt x="3265719" y="829208"/>
                    </a:cubicBezTo>
                    <a:cubicBezTo>
                      <a:pt x="3265719" y="1032965"/>
                      <a:pt x="3100542" y="1198142"/>
                      <a:pt x="2896785" y="1198142"/>
                    </a:cubicBezTo>
                    <a:cubicBezTo>
                      <a:pt x="2693028" y="1198142"/>
                      <a:pt x="2527851" y="1032965"/>
                      <a:pt x="2527851" y="829208"/>
                    </a:cubicBezTo>
                    <a:cubicBezTo>
                      <a:pt x="2527851" y="625451"/>
                      <a:pt x="2693028" y="460274"/>
                      <a:pt x="2896785" y="460274"/>
                    </a:cubicBezTo>
                    <a:close/>
                    <a:moveTo>
                      <a:pt x="596452" y="460274"/>
                    </a:moveTo>
                    <a:cubicBezTo>
                      <a:pt x="800209" y="460274"/>
                      <a:pt x="965386" y="625451"/>
                      <a:pt x="965386" y="829208"/>
                    </a:cubicBezTo>
                    <a:cubicBezTo>
                      <a:pt x="965386" y="1032965"/>
                      <a:pt x="800209" y="1198142"/>
                      <a:pt x="596452" y="1198142"/>
                    </a:cubicBezTo>
                    <a:cubicBezTo>
                      <a:pt x="392695" y="1198142"/>
                      <a:pt x="227518" y="1032965"/>
                      <a:pt x="227518" y="829208"/>
                    </a:cubicBezTo>
                    <a:cubicBezTo>
                      <a:pt x="227518" y="625451"/>
                      <a:pt x="392695" y="460274"/>
                      <a:pt x="596452" y="460274"/>
                    </a:cubicBezTo>
                    <a:close/>
                    <a:moveTo>
                      <a:pt x="1746041" y="0"/>
                    </a:moveTo>
                    <a:cubicBezTo>
                      <a:pt x="2004567" y="0"/>
                      <a:pt x="2214144" y="209577"/>
                      <a:pt x="2214144" y="468103"/>
                    </a:cubicBezTo>
                    <a:cubicBezTo>
                      <a:pt x="2214144" y="726629"/>
                      <a:pt x="2004567" y="936206"/>
                      <a:pt x="1746041" y="936206"/>
                    </a:cubicBezTo>
                    <a:cubicBezTo>
                      <a:pt x="1487515" y="936206"/>
                      <a:pt x="1277938" y="726629"/>
                      <a:pt x="1277938" y="468103"/>
                    </a:cubicBezTo>
                    <a:cubicBezTo>
                      <a:pt x="1277938" y="209577"/>
                      <a:pt x="1487515" y="0"/>
                      <a:pt x="1746041" y="0"/>
                    </a:cubicBezTo>
                    <a:close/>
                  </a:path>
                </a:pathLst>
              </a:custGeom>
              <a:noFill/>
              <a:ln w="9525" cap="flat" cmpd="sng" algn="ctr">
                <a:solidFill>
                  <a:schemeClr val="accent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indent="0" algn="ctr" defTabSz="914400" rtl="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ru-RU" sz="1000" b="0" i="0" u="none" strike="noStrike" cap="none" normalizeH="0" baseline="0" dirty="0">
                  <a:ln>
                    <a:noFill/>
                  </a:ln>
                  <a:solidFill>
                    <a:schemeClr val="tx1"/>
                  </a:solidFill>
                  <a:effectLst/>
                  <a:latin typeface="Arial" charset="0"/>
                  <a:cs typeface="Arial" charset="0"/>
                </a:endParaRPr>
              </a:p>
            </p:txBody>
          </p:sp>
          <p:sp>
            <p:nvSpPr>
              <p:cNvPr id="75" name="Прямоугольник 14">
                <a:extLst>
                  <a:ext uri="{FF2B5EF4-FFF2-40B4-BE49-F238E27FC236}">
                    <a16:creationId xmlns:a16="http://schemas.microsoft.com/office/drawing/2014/main" id="{73A17FDF-4AB3-E94E-B162-39508B66D297}"/>
                  </a:ext>
                </a:extLst>
              </p:cNvPr>
              <p:cNvSpPr/>
              <p:nvPr>
                <p:custDataLst>
                  <p:tags r:id="rId3"/>
                </p:custDataLst>
              </p:nvPr>
            </p:nvSpPr>
            <p:spPr bwMode="auto">
              <a:xfrm>
                <a:off x="976141" y="5625983"/>
                <a:ext cx="1833966" cy="591510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ot="0" spcFirstLastPara="0" vertOverflow="overflow" horzOverflow="overflow" vert="horz" wrap="square" lIns="45720" tIns="46800" rIns="4572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>
                  <a:defRPr/>
                </a:pPr>
                <a:r>
                  <a:rPr lang="ru-RU" sz="2000" b="1" dirty="0">
                    <a:solidFill>
                      <a:schemeClr val="accent3"/>
                    </a:solidFill>
                  </a:rPr>
                  <a:t>171</a:t>
                </a:r>
                <a:r>
                  <a:rPr lang="ru-RU" sz="1100" b="1" dirty="0">
                    <a:solidFill>
                      <a:schemeClr val="accent3"/>
                    </a:solidFill>
                  </a:rPr>
                  <a:t> человек</a:t>
                </a:r>
                <a:br>
                  <a:rPr lang="en-US" sz="1100" b="1" dirty="0">
                    <a:solidFill>
                      <a:schemeClr val="accent3"/>
                    </a:solidFill>
                  </a:rPr>
                </a:br>
                <a:r>
                  <a:rPr lang="ru-RU" sz="1100" b="1" dirty="0">
                    <a:solidFill>
                      <a:schemeClr val="accent3"/>
                    </a:solidFill>
                  </a:rPr>
                  <a:t>Численность персонала</a:t>
                </a:r>
                <a:r>
                  <a:rPr lang="ru-RU" sz="1100" dirty="0">
                    <a:solidFill>
                      <a:schemeClr val="accent3"/>
                    </a:solidFill>
                  </a:rPr>
                  <a:t> </a:t>
                </a:r>
              </a:p>
            </p:txBody>
          </p:sp>
        </p:grpSp>
      </p:grpSp>
      <p:pic>
        <p:nvPicPr>
          <p:cNvPr id="76" name="Picture 717" descr="page2image19679840">
            <a:extLst>
              <a:ext uri="{FF2B5EF4-FFF2-40B4-BE49-F238E27FC236}">
                <a16:creationId xmlns:a16="http://schemas.microsoft.com/office/drawing/2014/main" id="{046CC593-1B3B-DF42-B29E-7A63E5626EC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46449" y="1087148"/>
            <a:ext cx="5263375" cy="2627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7" name="Picture 718" descr="page9image5037520">
            <a:extLst>
              <a:ext uri="{FF2B5EF4-FFF2-40B4-BE49-F238E27FC236}">
                <a16:creationId xmlns:a16="http://schemas.microsoft.com/office/drawing/2014/main" id="{46E8FED0-ECA3-7548-A487-8EA4D39392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46449" y="3713967"/>
            <a:ext cx="5263375" cy="26273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799794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223234"/>
              </p:ext>
            </p:ext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1"/>
          <p:cNvSpPr/>
          <p:nvPr/>
        </p:nvSpPr>
        <p:spPr bwMode="auto">
          <a:xfrm>
            <a:off x="0" y="2514600"/>
            <a:ext cx="8153400" cy="1143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90600" y="2855268"/>
            <a:ext cx="7162800" cy="461665"/>
          </a:xfrm>
          <a:prstGeom prst="rect">
            <a:avLst/>
          </a:prstGeom>
          <a:noFill/>
        </p:spPr>
        <p:txBody>
          <a:bodyPr wrap="square" lIns="45720" rIns="45720" rtlCol="0" anchor="ctr">
            <a:spAutoFit/>
          </a:bodyPr>
          <a:lstStyle/>
          <a:p>
            <a:r>
              <a:rPr lang="ru-RU" sz="2400" b="1" dirty="0">
                <a:solidFill>
                  <a:schemeClr val="accent3"/>
                </a:solidFill>
              </a:rPr>
              <a:t>Пассажиропоток и профиль пассажира</a:t>
            </a:r>
            <a:endParaRPr lang="en-US" sz="24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44399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0178" name="Rectangle 5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1769211"/>
              </p:ext>
            </p:extLst>
          </p:nvPr>
        </p:nvGraphicFramePr>
        <p:xfrm>
          <a:off x="381007" y="10"/>
          <a:ext cx="162658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447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7" y="10"/>
                        <a:ext cx="162658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kumimoji="0" lang="ru-RU" sz="24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Прямоугольник 2" hidden="1"/>
          <p:cNvSpPr/>
          <p:nvPr>
            <p:custDataLst>
              <p:tags r:id="rId4"/>
            </p:custDataLst>
          </p:nvPr>
        </p:nvSpPr>
        <p:spPr bwMode="auto">
          <a:xfrm>
            <a:off x="381000" y="0"/>
            <a:ext cx="113393" cy="113393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defTabSz="653156"/>
            <a:endParaRPr lang="ru-RU" b="1" dirty="0">
              <a:solidFill>
                <a:prstClr val="black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48" name="Rectangle 3"/>
          <p:cNvSpPr>
            <a:spLocks noGrp="1" noChangeArrowheads="1"/>
          </p:cNvSpPr>
          <p:nvPr>
            <p:ph type="title" idx="4294967295"/>
          </p:nvPr>
        </p:nvSpPr>
        <p:spPr>
          <a:xfrm>
            <a:off x="549275" y="273050"/>
            <a:ext cx="9356725" cy="704850"/>
          </a:xfrm>
        </p:spPr>
        <p:txBody>
          <a:bodyPr/>
          <a:lstStyle/>
          <a:p>
            <a:r>
              <a:rPr lang="ru-RU" altLang="ru-RU" dirty="0"/>
              <a:t>ПРОГНОЗ ПАССАЖИРОПОТОКА</a:t>
            </a:r>
          </a:p>
        </p:txBody>
      </p:sp>
      <p:sp>
        <p:nvSpPr>
          <p:cNvPr id="6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9591675" y="6534150"/>
            <a:ext cx="314325" cy="238125"/>
          </a:xfrm>
        </p:spPr>
        <p:txBody>
          <a:bodyPr/>
          <a:lstStyle/>
          <a:p>
            <a:fld id="{CDBD563E-B0D3-447F-AFD2-910202E21ABB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24" name="Прямоугольник 43"/>
          <p:cNvSpPr/>
          <p:nvPr/>
        </p:nvSpPr>
        <p:spPr bwMode="auto">
          <a:xfrm>
            <a:off x="308251" y="1125014"/>
            <a:ext cx="4339949" cy="2765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ru-RU" sz="1600" b="1" dirty="0">
                <a:solidFill>
                  <a:schemeClr val="accent1"/>
                </a:solidFill>
              </a:rPr>
              <a:t>Предпосылки</a:t>
            </a:r>
            <a:endParaRPr kumimoji="0" lang="ru-RU" sz="1600" b="1" strike="noStrike" cap="none" normalizeH="0" baseline="0" dirty="0">
              <a:ln>
                <a:noFill/>
              </a:ln>
              <a:solidFill>
                <a:schemeClr val="accent1"/>
              </a:solidFill>
              <a:effectLst/>
            </a:endParaRPr>
          </a:p>
        </p:txBody>
      </p:sp>
      <p:sp>
        <p:nvSpPr>
          <p:cNvPr id="25" name="Объект 2"/>
          <p:cNvSpPr txBox="1">
            <a:spLocks/>
          </p:cNvSpPr>
          <p:nvPr/>
        </p:nvSpPr>
        <p:spPr>
          <a:xfrm>
            <a:off x="304800" y="1411868"/>
            <a:ext cx="4783016" cy="5092502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  <a:latin typeface="+mn-lt"/>
              </a:defRPr>
            </a:lvl2pPr>
            <a:lvl3pPr marL="801688" indent="-1079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+mn-lt"/>
              </a:defRPr>
            </a:lvl3pPr>
            <a:lvl4pPr marL="1165225" indent="-176213" algn="l" rtl="0" eaLnBrk="1" fontAlgn="base" hangingPunct="1">
              <a:spcBef>
                <a:spcPct val="200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4pPr>
            <a:lvl5pPr marL="1431925" indent="-14922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5pPr>
            <a:lvl6pPr marL="205545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6pPr>
            <a:lvl7pPr marL="2512570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7pPr>
            <a:lvl8pPr marL="2969689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8pPr>
            <a:lvl9pPr marL="3426808" indent="-31585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spcAft>
                <a:spcPts val="600"/>
              </a:spcAft>
              <a:tabLst>
                <a:tab pos="2151063" algn="l"/>
              </a:tabLst>
            </a:pPr>
            <a:r>
              <a:rPr lang="ru-RU" sz="1200" b="1" kern="0" dirty="0">
                <a:solidFill>
                  <a:schemeClr val="accent3"/>
                </a:solidFill>
              </a:rPr>
              <a:t>Пассажиры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жители Тобольска и близлежащих территорий 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туристы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командированные сотрудники СИБУР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вахты</a:t>
            </a:r>
          </a:p>
          <a:p>
            <a:pPr>
              <a:spcBef>
                <a:spcPts val="0"/>
              </a:spcBef>
              <a:spcAft>
                <a:spcPts val="600"/>
              </a:spcAft>
              <a:tabLst>
                <a:tab pos="2151063" algn="l"/>
              </a:tabLst>
            </a:pPr>
            <a:r>
              <a:rPr lang="ru-RU" sz="1200" b="1" kern="0" dirty="0">
                <a:solidFill>
                  <a:schemeClr val="accent3"/>
                </a:solidFill>
              </a:rPr>
              <a:t>Москва</a:t>
            </a:r>
            <a:endParaRPr lang="en-US" sz="1200" b="1" kern="0" dirty="0">
              <a:solidFill>
                <a:schemeClr val="accent3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Типы ВС</a:t>
            </a:r>
            <a:r>
              <a:rPr lang="en-US" sz="1200" kern="0" dirty="0">
                <a:solidFill>
                  <a:schemeClr val="accent3"/>
                </a:solidFill>
              </a:rPr>
              <a:t>: SSJ-100</a:t>
            </a:r>
            <a:endParaRPr lang="ru-RU" sz="1200" kern="0" dirty="0">
              <a:solidFill>
                <a:schemeClr val="accent3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Частота</a:t>
            </a:r>
            <a:r>
              <a:rPr lang="en-US" sz="1200" kern="0" dirty="0">
                <a:solidFill>
                  <a:schemeClr val="accent3"/>
                </a:solidFill>
              </a:rPr>
              <a:t>:</a:t>
            </a:r>
            <a:r>
              <a:rPr lang="ru-RU" sz="1200" kern="0" dirty="0">
                <a:solidFill>
                  <a:schemeClr val="accent3"/>
                </a:solidFill>
              </a:rPr>
              <a:t> 4 раз в неделю начиная 2022 году</a:t>
            </a:r>
          </a:p>
          <a:p>
            <a:pPr>
              <a:spcBef>
                <a:spcPts val="0"/>
              </a:spcBef>
              <a:spcAft>
                <a:spcPts val="600"/>
              </a:spcAft>
              <a:tabLst>
                <a:tab pos="2151063" algn="l"/>
              </a:tabLst>
            </a:pPr>
            <a:r>
              <a:rPr lang="ru-RU" sz="1200" b="1" kern="0" dirty="0">
                <a:solidFill>
                  <a:schemeClr val="accent3"/>
                </a:solidFill>
              </a:rPr>
              <a:t>Региональное сообщение</a:t>
            </a:r>
            <a:endParaRPr lang="en-US" sz="1200" b="1" kern="0" dirty="0">
              <a:solidFill>
                <a:schemeClr val="accent3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Типы ВС</a:t>
            </a:r>
            <a:r>
              <a:rPr lang="en-US" sz="1200" kern="0" dirty="0">
                <a:solidFill>
                  <a:schemeClr val="accent3"/>
                </a:solidFill>
              </a:rPr>
              <a:t>: SSJ-100</a:t>
            </a:r>
            <a:r>
              <a:rPr lang="ru-RU" sz="1200" kern="0" dirty="0">
                <a:solidFill>
                  <a:schemeClr val="accent3"/>
                </a:solidFill>
              </a:rPr>
              <a:t>, </a:t>
            </a:r>
            <a:r>
              <a:rPr lang="en-US" sz="1200" kern="0" dirty="0">
                <a:solidFill>
                  <a:schemeClr val="accent3"/>
                </a:solidFill>
              </a:rPr>
              <a:t>Bombardier/ Embraer</a:t>
            </a:r>
            <a:endParaRPr lang="ru-RU" sz="1200" kern="0" dirty="0">
              <a:solidFill>
                <a:schemeClr val="accent3"/>
              </a:solidFill>
            </a:endParaRP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2-4 направления, включая сезонные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Частота</a:t>
            </a:r>
            <a:r>
              <a:rPr lang="en-US" sz="1200" kern="0" dirty="0">
                <a:solidFill>
                  <a:schemeClr val="accent3"/>
                </a:solidFill>
              </a:rPr>
              <a:t>: </a:t>
            </a:r>
            <a:r>
              <a:rPr lang="ru-RU" sz="1200" kern="0" dirty="0">
                <a:solidFill>
                  <a:schemeClr val="accent3"/>
                </a:solidFill>
              </a:rPr>
              <a:t>2-5 раза в неделю</a:t>
            </a:r>
          </a:p>
          <a:p>
            <a:pPr marL="285750" indent="-28575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tabLst>
                <a:tab pos="2151063" algn="l"/>
              </a:tabLst>
            </a:pPr>
            <a:r>
              <a:rPr lang="ru-RU" sz="1200" kern="0" dirty="0">
                <a:solidFill>
                  <a:schemeClr val="accent3"/>
                </a:solidFill>
              </a:rPr>
              <a:t>Направления: Санкт-Петербург, Екатеринбург, Казань, Новосибирск, Москва, Новый Уренгой, Омск, Сочи, Самара, Сургут, Уфа, Нижнекамск</a:t>
            </a: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id="{37751906-C8BA-CD4C-9F12-634B128C0C86}"/>
              </a:ext>
            </a:extLst>
          </p:cNvPr>
          <p:cNvCxnSpPr/>
          <p:nvPr/>
        </p:nvCxnSpPr>
        <p:spPr bwMode="auto">
          <a:xfrm>
            <a:off x="0" y="866469"/>
            <a:ext cx="615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022059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3554" name="Object 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1"/>
          <p:cNvSpPr/>
          <p:nvPr/>
        </p:nvSpPr>
        <p:spPr bwMode="auto">
          <a:xfrm>
            <a:off x="0" y="2514600"/>
            <a:ext cx="8153400" cy="1143000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45720" tIns="45720" rIns="457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50000"/>
              </a:spcBef>
              <a:spcAft>
                <a:spcPct val="0"/>
              </a:spcAft>
            </a:pPr>
            <a:endParaRPr lang="ru-RU" sz="1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90600" y="2855268"/>
            <a:ext cx="7162800" cy="461665"/>
          </a:xfrm>
          <a:prstGeom prst="rect">
            <a:avLst/>
          </a:prstGeom>
          <a:noFill/>
        </p:spPr>
        <p:txBody>
          <a:bodyPr wrap="square" lIns="45720" rIns="45720" rtlCol="0" anchor="ctr">
            <a:spAutoFit/>
          </a:bodyPr>
          <a:lstStyle/>
          <a:p>
            <a:r>
              <a:rPr lang="ru-RU" sz="2400" b="1" dirty="0">
                <a:solidFill>
                  <a:schemeClr val="accent3"/>
                </a:solidFill>
              </a:rPr>
              <a:t>Предлагаемые места размещения и дизайн </a:t>
            </a:r>
            <a:endParaRPr lang="en-US" sz="2400" b="1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37612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B96D5820-2281-0843-9509-F5268DCB5A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91675" y="6534150"/>
            <a:ext cx="314325" cy="2381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D8B6E62-2D6A-334F-8E69-8B7ABFA4A1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3666" y="779820"/>
            <a:ext cx="7267651" cy="5648561"/>
          </a:xfrm>
          <a:prstGeom prst="rect">
            <a:avLst/>
          </a:prstGeom>
        </p:spPr>
      </p:pic>
      <p:sp>
        <p:nvSpPr>
          <p:cNvPr id="5" name="Rectangle 3">
            <a:extLst>
              <a:ext uri="{FF2B5EF4-FFF2-40B4-BE49-F238E27FC236}">
                <a16:creationId xmlns:a16="http://schemas.microsoft.com/office/drawing/2014/main" id="{9D52EEA2-5183-9246-8279-B339E9B0E9D9}"/>
              </a:ext>
            </a:extLst>
          </p:cNvPr>
          <p:cNvSpPr txBox="1">
            <a:spLocks noChangeArrowheads="1"/>
          </p:cNvSpPr>
          <p:nvPr/>
        </p:nvSpPr>
        <p:spPr>
          <a:xfrm>
            <a:off x="549275" y="273050"/>
            <a:ext cx="9356725" cy="70485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altLang="ru-RU" kern="0" dirty="0"/>
              <a:t>СХЕМА ТЕРМИНАЛА</a:t>
            </a: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8B30638F-174A-6C4A-8B73-669633A51964}"/>
              </a:ext>
            </a:extLst>
          </p:cNvPr>
          <p:cNvCxnSpPr/>
          <p:nvPr/>
        </p:nvCxnSpPr>
        <p:spPr bwMode="auto">
          <a:xfrm>
            <a:off x="0" y="866469"/>
            <a:ext cx="615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442151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B96D5820-2281-0843-9509-F5268DCB5A4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591675" y="6534150"/>
            <a:ext cx="314325" cy="238125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171F4AB3-BA9A-6F43-B298-8B0D809EC691}"/>
              </a:ext>
            </a:extLst>
          </p:cNvPr>
          <p:cNvSpPr>
            <a:spLocks noGrp="1" noChangeArrowheads="1"/>
          </p:cNvSpPr>
          <p:nvPr>
            <p:ph type="title" idx="4294967295"/>
          </p:nvPr>
        </p:nvSpPr>
        <p:spPr>
          <a:xfrm>
            <a:off x="549275" y="273050"/>
            <a:ext cx="9356725" cy="704850"/>
          </a:xfrm>
        </p:spPr>
        <p:txBody>
          <a:bodyPr/>
          <a:lstStyle/>
          <a:p>
            <a:r>
              <a:rPr lang="ru-RU" altLang="ru-RU" dirty="0"/>
              <a:t>ВЕНДИНГ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D8B6E62-2D6A-334F-8E69-8B7ABFA4A1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4289" y="978320"/>
            <a:ext cx="6414660" cy="4985600"/>
          </a:xfrm>
          <a:prstGeom prst="rect">
            <a:avLst/>
          </a:prstGeom>
        </p:spPr>
      </p:pic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347DC38B-3B47-9C41-9510-BF809BFF1728}"/>
              </a:ext>
            </a:extLst>
          </p:cNvPr>
          <p:cNvCxnSpPr/>
          <p:nvPr/>
        </p:nvCxnSpPr>
        <p:spPr bwMode="auto">
          <a:xfrm>
            <a:off x="0" y="866469"/>
            <a:ext cx="6156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3C89FE90-5CF1-BE4C-861B-519D85AE7A65}"/>
              </a:ext>
            </a:extLst>
          </p:cNvPr>
          <p:cNvSpPr/>
          <p:nvPr/>
        </p:nvSpPr>
        <p:spPr bwMode="auto">
          <a:xfrm>
            <a:off x="6618949" y="1090170"/>
            <a:ext cx="214929" cy="215186"/>
          </a:xfrm>
          <a:prstGeom prst="rect">
            <a:avLst/>
          </a:prstGeom>
          <a:solidFill>
            <a:srgbClr val="FF0000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7BAD0FF-AAD3-D64E-BB3A-46C0D1B22E62}"/>
              </a:ext>
            </a:extLst>
          </p:cNvPr>
          <p:cNvSpPr txBox="1"/>
          <p:nvPr/>
        </p:nvSpPr>
        <p:spPr>
          <a:xfrm>
            <a:off x="6833878" y="1018920"/>
            <a:ext cx="2799122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ПРЕДПОЛАГАЕМОЕ МЕСТО РАЗМЕЩЕНИЯ </a:t>
            </a:r>
          </a:p>
          <a:p>
            <a:r>
              <a:rPr lang="ru-RU" sz="1100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ВЕНДИНГОВОГО АППАРАТА </a:t>
            </a:r>
          </a:p>
          <a:p>
            <a:r>
              <a:rPr lang="ru-RU" sz="1100" dirty="0">
                <a:solidFill>
                  <a:schemeClr val="accent3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СНЭКИ/НАПИТКИ/КОФЕПОЙНТ)</a:t>
            </a:r>
          </a:p>
        </p:txBody>
      </p:sp>
    </p:spTree>
    <p:extLst>
      <p:ext uri="{BB962C8B-B14F-4D97-AF65-F5344CB8AC3E}">
        <p14:creationId xmlns:p14="http://schemas.microsoft.com/office/powerpoint/2010/main" val="2313743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AB173FF-21A3-8748-B3E2-5557346F8A0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49275" y="273050"/>
            <a:ext cx="9356725" cy="704850"/>
          </a:xfrm>
        </p:spPr>
        <p:txBody>
          <a:bodyPr/>
          <a:lstStyle/>
          <a:p>
            <a:r>
              <a:rPr lang="ru-RU" dirty="0"/>
              <a:t>КОНТАКТЫ</a:t>
            </a: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23504625-8750-2643-95F4-C277C4DAAC60}"/>
              </a:ext>
            </a:extLst>
          </p:cNvPr>
          <p:cNvCxnSpPr>
            <a:cxnSpLocks/>
          </p:cNvCxnSpPr>
          <p:nvPr/>
        </p:nvCxnSpPr>
        <p:spPr bwMode="auto">
          <a:xfrm>
            <a:off x="0" y="866754"/>
            <a:ext cx="6467707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7" name="TextBox 6">
            <a:extLst>
              <a:ext uri="{FF2B5EF4-FFF2-40B4-BE49-F238E27FC236}">
                <a16:creationId xmlns:a16="http://schemas.microsoft.com/office/drawing/2014/main" id="{F133626E-8B84-0D4C-AF35-3EE966739826}"/>
              </a:ext>
            </a:extLst>
          </p:cNvPr>
          <p:cNvSpPr txBox="1"/>
          <p:nvPr/>
        </p:nvSpPr>
        <p:spPr>
          <a:xfrm>
            <a:off x="276900" y="1172741"/>
            <a:ext cx="7707687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1" dirty="0">
                <a:solidFill>
                  <a:schemeClr val="accent1"/>
                </a:solidFill>
              </a:rPr>
              <a:t>Варвара Хасаншина</a:t>
            </a:r>
          </a:p>
          <a:p>
            <a:r>
              <a:rPr lang="ru-RU" sz="1200" dirty="0">
                <a:solidFill>
                  <a:schemeClr val="accent3"/>
                </a:solidFill>
              </a:rPr>
              <a:t>Региональный представитель департамента неавиационной коммерции</a:t>
            </a:r>
          </a:p>
          <a:p>
            <a:r>
              <a:rPr lang="ru-RU" sz="1200" dirty="0">
                <a:solidFill>
                  <a:schemeClr val="accent3"/>
                </a:solidFill>
              </a:rPr>
              <a:t>АО УК «Аэропорты Регионов» (по поручению доверительного управляющего ООО «Аэропорт Тобольск»)</a:t>
            </a:r>
          </a:p>
          <a:p>
            <a:r>
              <a:rPr lang="ru-RU" sz="1200" dirty="0">
                <a:solidFill>
                  <a:schemeClr val="accent3"/>
                </a:solidFill>
              </a:rPr>
              <a:t>Тел.: +7 912 430 13 54</a:t>
            </a:r>
          </a:p>
          <a:p>
            <a:r>
              <a:rPr lang="en-US" sz="1200" dirty="0">
                <a:solidFill>
                  <a:schemeClr val="accent3"/>
                </a:solidFill>
              </a:rPr>
              <a:t>Email: v.hasanshina@ar-management.ru</a:t>
            </a:r>
            <a:endParaRPr lang="ru-RU" sz="1200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8254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064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gT_dPsv49HWo3x4Ty0p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.OHDXs.Ye1RT2XxjU23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GovTql5CYr15P5NzN1B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zF.MLByjpSvGZodTf0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C5fheN.iE_wNFWFhvK7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zF.MLByjpSvGZodTf0d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zF.MLByjpSvGZodTf0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L0ivmixc_ha5Inn7Kqd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26XOB8PUuC4iV4G5K2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26XOB8PUuC4iV4G5K2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26XOB8PUuC4iV4G5K2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85JNgC6kmU7DZhhEMHa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85JNgC6kmU7DZhhEMHa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z_QYkIJTaT04N9UdO0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85JNgC6kmU7DZhhEMHa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85JNgC6kmU7DZhhEMHa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85JNgC6kmU7DZhhEMHa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YIrndnXQ5s3mISZIMZJ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zk2zbiTTWggrS7pY1Gn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G4TtAs2uhPS_uSNT2S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А4 RUS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А4 RUS" id="{ABC2E019-6C5D-41B3-85D7-55467A0E7417}" vid="{837515A4-61CE-438A-8B17-04DE03243C1F}"/>
    </a:ext>
  </a:extLst>
</a:theme>
</file>

<file path=ppt/theme/theme2.xml><?xml version="1.0" encoding="utf-8"?>
<a:theme xmlns:a="http://schemas.openxmlformats.org/drawingml/2006/main" name="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3.xml><?xml version="1.0" encoding="utf-8"?>
<a:theme xmlns:a="http://schemas.openxmlformats.org/drawingml/2006/main" name="Одна колонка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5.xml><?xml version="1.0" encoding="utf-8"?>
<a:theme xmlns:a="http://schemas.openxmlformats.org/drawingml/2006/main" name="Три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6.xml><?xml version="1.0" encoding="utf-8"?>
<a:theme xmlns:a="http://schemas.openxmlformats.org/drawingml/2006/main" name="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7.xml><?xml version="1.0" encoding="utf-8"?>
<a:theme xmlns:a="http://schemas.openxmlformats.org/drawingml/2006/main" name="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А4 RUS</Template>
  <TotalTime>10785</TotalTime>
  <Words>211</Words>
  <Application>Microsoft Office PowerPoint</Application>
  <PresentationFormat>Лист A4 (210x297 мм)</PresentationFormat>
  <Paragraphs>50</Paragraphs>
  <Slides>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9" baseType="lpstr">
      <vt:lpstr>Arial</vt:lpstr>
      <vt:lpstr>Calibri</vt:lpstr>
      <vt:lpstr>Wingdings</vt:lpstr>
      <vt:lpstr>А4 RUS</vt:lpstr>
      <vt:lpstr>Базовые слайды</vt:lpstr>
      <vt:lpstr>Одна колонка</vt:lpstr>
      <vt:lpstr>Две колонки</vt:lpstr>
      <vt:lpstr>Три колонки</vt:lpstr>
      <vt:lpstr>Четыре колонки и более</vt:lpstr>
      <vt:lpstr>Схемы</vt:lpstr>
      <vt:lpstr>think-cell Slide</vt:lpstr>
      <vt:lpstr>Размещение вендинговых аппаратов НА ТЕРРИТОРИИ АЭРОПОРТА ТОБОЛЬСК</vt:lpstr>
      <vt:lpstr>АЭРОПОРТ. КЛЮЧЕВЫЕ ДАННЫЕ</vt:lpstr>
      <vt:lpstr>Презентация PowerPoint</vt:lpstr>
      <vt:lpstr>ПРОГНОЗ ПАССАЖИРОПОТОКА</vt:lpstr>
      <vt:lpstr>Презентация PowerPoint</vt:lpstr>
      <vt:lpstr>Презентация PowerPoint</vt:lpstr>
      <vt:lpstr>ВЕНДИНГ</vt:lpstr>
      <vt:lpstr>КОНТАКТЫ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Эль-Хашем Айман Кессравич</dc:creator>
  <cp:lastModifiedBy>Хасаншина Варвара Витальевна</cp:lastModifiedBy>
  <cp:revision>613</cp:revision>
  <cp:lastPrinted>2021-02-04T10:38:40Z</cp:lastPrinted>
  <dcterms:created xsi:type="dcterms:W3CDTF">2019-09-22T17:40:34Z</dcterms:created>
  <dcterms:modified xsi:type="dcterms:W3CDTF">2024-07-30T04:47:29Z</dcterms:modified>
</cp:coreProperties>
</file>